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81" r:id="rId6"/>
    <p:sldMasterId id="2147483765" r:id="rId7"/>
  </p:sldMasterIdLst>
  <p:notesMasterIdLst>
    <p:notesMasterId r:id="rId54"/>
  </p:notesMasterIdLst>
  <p:sldIdLst>
    <p:sldId id="405" r:id="rId8"/>
    <p:sldId id="2147478637" r:id="rId9"/>
    <p:sldId id="2147478646" r:id="rId10"/>
    <p:sldId id="2147478608" r:id="rId11"/>
    <p:sldId id="2147478638" r:id="rId12"/>
    <p:sldId id="2147478034" r:id="rId13"/>
    <p:sldId id="2147478610" r:id="rId14"/>
    <p:sldId id="2147478619" r:id="rId15"/>
    <p:sldId id="2147478611" r:id="rId16"/>
    <p:sldId id="2147478612" r:id="rId17"/>
    <p:sldId id="2147478615" r:id="rId18"/>
    <p:sldId id="2147478616" r:id="rId19"/>
    <p:sldId id="2147478617" r:id="rId20"/>
    <p:sldId id="2147478618" r:id="rId21"/>
    <p:sldId id="2147478613" r:id="rId22"/>
    <p:sldId id="2147478614" r:id="rId23"/>
    <p:sldId id="409" r:id="rId24"/>
    <p:sldId id="2147478634" r:id="rId25"/>
    <p:sldId id="2147478625" r:id="rId26"/>
    <p:sldId id="2147478626" r:id="rId27"/>
    <p:sldId id="2147478635" r:id="rId28"/>
    <p:sldId id="2147478628" r:id="rId29"/>
    <p:sldId id="2147478629" r:id="rId30"/>
    <p:sldId id="2147478627" r:id="rId31"/>
    <p:sldId id="2147478630" r:id="rId32"/>
    <p:sldId id="2147478632" r:id="rId33"/>
    <p:sldId id="2147478647" r:id="rId34"/>
    <p:sldId id="2147478636" r:id="rId35"/>
    <p:sldId id="2147478633" r:id="rId36"/>
    <p:sldId id="2147478639" r:id="rId37"/>
    <p:sldId id="2147478640" r:id="rId38"/>
    <p:sldId id="2147478641" r:id="rId39"/>
    <p:sldId id="2147478643" r:id="rId40"/>
    <p:sldId id="2147478642" r:id="rId41"/>
    <p:sldId id="2147478645" r:id="rId42"/>
    <p:sldId id="2147478644" r:id="rId43"/>
    <p:sldId id="2147478648" r:id="rId44"/>
    <p:sldId id="2147478650" r:id="rId45"/>
    <p:sldId id="2147478651" r:id="rId46"/>
    <p:sldId id="2147478652" r:id="rId47"/>
    <p:sldId id="2147478653" r:id="rId48"/>
    <p:sldId id="2147478654" r:id="rId49"/>
    <p:sldId id="2147478655" r:id="rId50"/>
    <p:sldId id="2147478656" r:id="rId51"/>
    <p:sldId id="2147478609" r:id="rId52"/>
    <p:sldId id="407"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ZebraRFIDGen2XIntro" id="{3BC75EE0-4AE2-40C5-9847-B80CDF45FFE7}">
          <p14:sldIdLst>
            <p14:sldId id="405"/>
            <p14:sldId id="2147478637"/>
            <p14:sldId id="2147478646"/>
            <p14:sldId id="2147478608"/>
          </p14:sldIdLst>
        </p14:section>
        <p14:section name="Sample App - Getting Started" id="{EA21FB53-010A-45BE-B949-369365A6652C}">
          <p14:sldIdLst>
            <p14:sldId id="2147478638"/>
            <p14:sldId id="2147478034"/>
            <p14:sldId id="2147478610"/>
          </p14:sldIdLst>
        </p14:section>
        <p14:section name="NavInvSingPrefilter" id="{15B6F5EE-6900-4D59-AAB3-7978342D203E}">
          <p14:sldIdLst>
            <p14:sldId id="2147478619"/>
            <p14:sldId id="2147478611"/>
            <p14:sldId id="2147478612"/>
            <p14:sldId id="2147478615"/>
            <p14:sldId id="2147478616"/>
            <p14:sldId id="2147478617"/>
            <p14:sldId id="2147478618"/>
            <p14:sldId id="2147478613"/>
            <p14:sldId id="2147478614"/>
          </p14:sldIdLst>
        </p14:section>
        <p14:section name="Gen2X: TagFocus" id="{1ED3B0C7-1F71-4A0B-AB54-C19C36D30FE8}">
          <p14:sldIdLst>
            <p14:sldId id="409"/>
            <p14:sldId id="2147478634"/>
            <p14:sldId id="2147478625"/>
            <p14:sldId id="2147478626"/>
          </p14:sldIdLst>
        </p14:section>
        <p14:section name="Gen2X:Tag Quieting" id="{51972D1F-6332-431B-9806-0E11E7300596}">
          <p14:sldIdLst>
            <p14:sldId id="2147478635"/>
            <p14:sldId id="2147478628"/>
            <p14:sldId id="2147478629"/>
            <p14:sldId id="2147478627"/>
            <p14:sldId id="2147478630"/>
            <p14:sldId id="2147478632"/>
            <p14:sldId id="2147478647"/>
          </p14:sldIdLst>
        </p14:section>
        <p14:section name="Gen2X: Protected Mode" id="{0DA785AF-5587-4FED-8999-2FCAB18BFC51}">
          <p14:sldIdLst>
            <p14:sldId id="2147478636"/>
            <p14:sldId id="2147478633"/>
            <p14:sldId id="2147478639"/>
            <p14:sldId id="2147478640"/>
            <p14:sldId id="2147478641"/>
            <p14:sldId id="2147478643"/>
            <p14:sldId id="2147478642"/>
            <p14:sldId id="2147478645"/>
            <p14:sldId id="2147478644"/>
            <p14:sldId id="2147478648"/>
            <p14:sldId id="2147478650"/>
            <p14:sldId id="2147478651"/>
            <p14:sldId id="2147478652"/>
            <p14:sldId id="2147478653"/>
            <p14:sldId id="2147478654"/>
            <p14:sldId id="2147478655"/>
            <p14:sldId id="2147478656"/>
          </p14:sldIdLst>
        </p14:section>
        <p14:section name="Summary" id="{FBB217E2-3E77-4FCD-B33C-F806CE946362}">
          <p14:sldIdLst>
            <p14:sldId id="2147478609"/>
            <p14:sldId id="40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F69FF"/>
    <a:srgbClr val="FFFDE7"/>
    <a:srgbClr val="E0E0E0"/>
    <a:srgbClr val="E6FF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9D7563-4750-482C-A7FE-9CDB9D8496C3}" v="279" dt="2025-08-26T02:54:05.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339" autoAdjust="0"/>
  </p:normalViewPr>
  <p:slideViewPr>
    <p:cSldViewPr snapToGrid="0">
      <p:cViewPr varScale="1">
        <p:scale>
          <a:sx n="76" d="100"/>
          <a:sy n="76" d="100"/>
        </p:scale>
        <p:origin x="946" y="67"/>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083FC4-F15D-40BF-8BED-4DC2F70332D7}" type="datetimeFigureOut">
              <a:rPr lang="en-US" smtClean="0"/>
              <a:t>4/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F83786-8BED-4854-A2CE-B36359CFC6F5}" type="slidenum">
              <a:rPr lang="en-US" smtClean="0"/>
              <a:t>‹#›</a:t>
            </a:fld>
            <a:endParaRPr lang="en-US"/>
          </a:p>
        </p:txBody>
      </p:sp>
    </p:spTree>
    <p:extLst>
      <p:ext uri="{BB962C8B-B14F-4D97-AF65-F5344CB8AC3E}">
        <p14:creationId xmlns:p14="http://schemas.microsoft.com/office/powerpoint/2010/main" val="1665320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D1E70-87FF-5183-9021-2A27A42504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66A85-03E3-B2DA-AC96-409EDC563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A8991C-1CA1-517B-206A-915C5AE5E38B}"/>
              </a:ext>
            </a:extLst>
          </p:cNvPr>
          <p:cNvSpPr>
            <a:spLocks noGrp="1"/>
          </p:cNvSpPr>
          <p:nvPr>
            <p:ph type="body" idx="1"/>
          </p:nvPr>
        </p:nvSpPr>
        <p:spPr/>
        <p:txBody>
          <a:bodyPr/>
          <a:lstStyle/>
          <a:p>
            <a:r>
              <a:rPr lang="en-US" dirty="0"/>
              <a:t>Welcome!</a:t>
            </a:r>
          </a:p>
        </p:txBody>
      </p:sp>
      <p:sp>
        <p:nvSpPr>
          <p:cNvPr id="4" name="Slide Number Placeholder 3">
            <a:extLst>
              <a:ext uri="{FF2B5EF4-FFF2-40B4-BE49-F238E27FC236}">
                <a16:creationId xmlns:a16="http://schemas.microsoft.com/office/drawing/2014/main" id="{94A8991A-172F-B95C-6BCD-C63C092473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47651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CFA18-91EA-EA7F-FCB8-8F73282F87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3B882-CA85-7EB0-7A18-521E7D7F9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98ACD-33FE-9A19-2C36-1054EA410116}"/>
              </a:ext>
            </a:extLst>
          </p:cNvPr>
          <p:cNvSpPr>
            <a:spLocks noGrp="1"/>
          </p:cNvSpPr>
          <p:nvPr>
            <p:ph type="body" idx="1"/>
          </p:nvPr>
        </p:nvSpPr>
        <p:spPr/>
        <p:txBody>
          <a:bodyPr/>
          <a:lstStyle/>
          <a:p>
            <a:r>
              <a:rPr lang="en-US" dirty="0"/>
              <a:t>The </a:t>
            </a:r>
            <a:r>
              <a:rPr lang="en-US" b="1" dirty="0"/>
              <a:t>Inventory</a:t>
            </a:r>
            <a:r>
              <a:rPr lang="en-US" dirty="0"/>
              <a:t> screen allows you to read tags and compare performance using different configurations and features. It supports both standard Gen2v2 tag inventory and testing of Gen2X features. While this section outlines the general screen layout, refer to specific feature sections for detailed instructions.</a:t>
            </a:r>
          </a:p>
          <a:p>
            <a:r>
              <a:rPr lang="en-US" dirty="0"/>
              <a:t>The screen is divided into four key areas: </a:t>
            </a:r>
          </a:p>
          <a:p>
            <a:r>
              <a:rPr lang="en-US" b="1" dirty="0"/>
              <a:t>Gen2X Feature Options</a:t>
            </a:r>
            <a:r>
              <a:rPr lang="en-US" dirty="0"/>
              <a:t> – Enable or disable features and set the Quiet timer. </a:t>
            </a:r>
          </a:p>
          <a:p>
            <a:r>
              <a:rPr lang="en-US" b="1" dirty="0"/>
              <a:t>Inventory Tag Display</a:t>
            </a:r>
            <a:r>
              <a:rPr lang="en-US" dirty="0"/>
              <a:t> – View read tags, including count, RSSI, and reads per second. </a:t>
            </a:r>
          </a:p>
          <a:p>
            <a:r>
              <a:rPr lang="en-US" b="1" dirty="0"/>
              <a:t>Inventory Summary Bar</a:t>
            </a:r>
            <a:r>
              <a:rPr lang="en-US" dirty="0"/>
              <a:t> – Track the inventory stop timer and tag counts by category. </a:t>
            </a:r>
          </a:p>
          <a:p>
            <a:r>
              <a:rPr lang="en-US" b="1" dirty="0"/>
              <a:t>Unique Tags Bar</a:t>
            </a:r>
            <a:r>
              <a:rPr lang="en-US" dirty="0"/>
              <a:t> – Includes Start/Stop and Clear buttons, along with the timer, unique tag count, and tags read per 10 seconds.</a:t>
            </a:r>
          </a:p>
          <a:p>
            <a:endParaRPr lang="en-US" dirty="0"/>
          </a:p>
        </p:txBody>
      </p:sp>
      <p:sp>
        <p:nvSpPr>
          <p:cNvPr id="4" name="Slide Number Placeholder 3">
            <a:extLst>
              <a:ext uri="{FF2B5EF4-FFF2-40B4-BE49-F238E27FC236}">
                <a16:creationId xmlns:a16="http://schemas.microsoft.com/office/drawing/2014/main" id="{22EA650C-4797-A468-556D-5E2F3E7168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13334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43976-6008-6D17-8ED0-137667733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575BB0-12D9-CBC5-5096-95B931187F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584829-0F97-AD04-A848-05C1D5BB9F27}"/>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Gen2X Feature Options</a:t>
            </a:r>
            <a:r>
              <a:rPr lang="en-US" sz="1200" b="0" i="0" kern="1200" dirty="0">
                <a:solidFill>
                  <a:schemeClr val="tx1"/>
                </a:solidFill>
                <a:effectLst/>
                <a:latin typeface="+mn-lt"/>
                <a:ea typeface="+mn-ea"/>
                <a:cs typeface="+mn-cs"/>
              </a:rPr>
              <a:t> on the Inventory screen allow you to control key features:</a:t>
            </a:r>
          </a:p>
          <a:p>
            <a:r>
              <a:rPr lang="en-US" sz="1200" b="1" i="0" kern="1200" dirty="0">
                <a:solidFill>
                  <a:schemeClr val="tx1"/>
                </a:solidFill>
                <a:effectLst/>
                <a:latin typeface="+mn-lt"/>
                <a:ea typeface="+mn-ea"/>
                <a:cs typeface="+mn-cs"/>
              </a:rPr>
              <a:t>Focus</a:t>
            </a:r>
            <a:r>
              <a:rPr lang="en-US" sz="1200" b="0" i="0" kern="1200" dirty="0">
                <a:solidFill>
                  <a:schemeClr val="tx1"/>
                </a:solidFill>
                <a:effectLst/>
                <a:latin typeface="+mn-lt"/>
                <a:ea typeface="+mn-ea"/>
                <a:cs typeface="+mn-cs"/>
              </a:rPr>
              <a:t>: Enables th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feature to prioritize unread or weaker tags.</a:t>
            </a:r>
          </a:p>
          <a:p>
            <a:r>
              <a:rPr lang="en-US" sz="1200" b="1" i="0" kern="1200" dirty="0">
                <a:solidFill>
                  <a:schemeClr val="tx1"/>
                </a:solidFill>
                <a:effectLst/>
                <a:latin typeface="+mn-lt"/>
                <a:ea typeface="+mn-ea"/>
                <a:cs typeface="+mn-cs"/>
              </a:rPr>
              <a:t>Quiet Timer</a:t>
            </a:r>
            <a:r>
              <a:rPr lang="en-US" sz="1200" b="0" i="0" kern="1200" dirty="0">
                <a:solidFill>
                  <a:schemeClr val="tx1"/>
                </a:solidFill>
                <a:effectLst/>
                <a:latin typeface="+mn-lt"/>
                <a:ea typeface="+mn-ea"/>
                <a:cs typeface="+mn-cs"/>
              </a:rPr>
              <a:t>: Displays the duration for which the quiet filter is applied.</a:t>
            </a:r>
          </a:p>
          <a:p>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Quiets selected tags to reduce redundant reads.</a:t>
            </a:r>
          </a:p>
          <a:p>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Allows you to un-quiet previously inventoried tags.</a:t>
            </a:r>
          </a:p>
          <a:p>
            <a:endParaRPr lang="en-US" dirty="0"/>
          </a:p>
        </p:txBody>
      </p:sp>
      <p:sp>
        <p:nvSpPr>
          <p:cNvPr id="4" name="Slide Number Placeholder 3">
            <a:extLst>
              <a:ext uri="{FF2B5EF4-FFF2-40B4-BE49-F238E27FC236}">
                <a16:creationId xmlns:a16="http://schemas.microsoft.com/office/drawing/2014/main" id="{538A61C9-454B-6566-ADB7-A1CE6E1955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217491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8DAD8-CFEC-D395-A30B-38C305A634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F54291-4D2B-6698-8D85-A3F5000E7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4279E9-4CA3-326C-B463-EA13D780D9E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Tag Display</a:t>
            </a:r>
            <a:r>
              <a:rPr lang="en-US" sz="1200" b="0" i="0" kern="1200" dirty="0">
                <a:solidFill>
                  <a:schemeClr val="tx1"/>
                </a:solidFill>
                <a:effectLst/>
                <a:latin typeface="+mn-lt"/>
                <a:ea typeface="+mn-ea"/>
                <a:cs typeface="+mn-cs"/>
              </a:rPr>
              <a:t> provides key details about the tags being read, including their EPC value, read count, signal strength (RSSI), and reads per second. </a:t>
            </a:r>
          </a:p>
          <a:p>
            <a:r>
              <a:rPr lang="en-US" sz="1200" b="0" i="0" kern="1200" dirty="0">
                <a:solidFill>
                  <a:schemeClr val="tx1"/>
                </a:solidFill>
                <a:effectLst/>
                <a:latin typeface="+mn-lt"/>
                <a:ea typeface="+mn-ea"/>
                <a:cs typeface="+mn-cs"/>
              </a:rPr>
              <a:t>Tags are color-coded for quick status identification: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05663D23-C273-5BB7-E86F-A66C636031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71717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E5BEB-EC17-867B-4109-768192BF6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75285B-9648-EBAE-5DEB-B4B829879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A18EE-DF6C-D4F2-A567-2A73FE3014A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Summary Bar</a:t>
            </a:r>
            <a:r>
              <a:rPr lang="en-US" sz="1200" b="0" i="0" kern="1200" dirty="0">
                <a:solidFill>
                  <a:schemeClr val="tx1"/>
                </a:solidFill>
                <a:effectLst/>
                <a:latin typeface="+mn-lt"/>
                <a:ea typeface="+mn-ea"/>
                <a:cs typeface="+mn-cs"/>
              </a:rPr>
              <a:t> provides an overview of inventory progress, including the stop timer and tag counts by category. </a:t>
            </a:r>
          </a:p>
          <a:p>
            <a:r>
              <a:rPr lang="en-US" sz="1200" b="0" i="0" kern="1200" dirty="0">
                <a:solidFill>
                  <a:schemeClr val="tx1"/>
                </a:solidFill>
                <a:effectLst/>
                <a:latin typeface="+mn-lt"/>
                <a:ea typeface="+mn-ea"/>
                <a:cs typeface="+mn-cs"/>
              </a:rPr>
              <a:t>Tags are categorized as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tags with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read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EB06E461-7F96-9D55-C028-F909B12A6C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05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EEA2A-66B2-4AEC-389B-464A1C976A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74DAA-6A77-B145-7528-298F87893A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40E2B-BB84-357D-6825-12644305B9F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Unique Tags Bar</a:t>
            </a:r>
            <a:r>
              <a:rPr lang="en-US" dirty="0"/>
              <a:t> provides a summary of unique tags read during the inventory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ncludes the total </a:t>
            </a:r>
            <a:r>
              <a:rPr lang="en-US" b="1" dirty="0"/>
              <a:t>Unique Tags Count</a:t>
            </a:r>
            <a:r>
              <a:rPr lang="en-US" dirty="0"/>
              <a:t>, a </a:t>
            </a:r>
            <a:r>
              <a:rPr lang="en-US" b="1" dirty="0"/>
              <a:t>Timer</a:t>
            </a:r>
            <a:r>
              <a:rPr lang="en-US" dirty="0"/>
              <a:t> to track inventory duration, and the number of </a:t>
            </a:r>
            <a:r>
              <a:rPr lang="en-US" b="1" dirty="0"/>
              <a:t>New Unique Tags</a:t>
            </a:r>
            <a:r>
              <a:rPr lang="en-US" dirty="0"/>
              <a:t> detected every 10 seconds, offering a clear view of tag discovery over time.</a:t>
            </a:r>
          </a:p>
          <a:p>
            <a:endParaRPr lang="en-US" dirty="0"/>
          </a:p>
        </p:txBody>
      </p:sp>
      <p:sp>
        <p:nvSpPr>
          <p:cNvPr id="4" name="Slide Number Placeholder 3">
            <a:extLst>
              <a:ext uri="{FF2B5EF4-FFF2-40B4-BE49-F238E27FC236}">
                <a16:creationId xmlns:a16="http://schemas.microsoft.com/office/drawing/2014/main" id="{A661E6C2-C4D4-10C9-862B-B2222D5059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89989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0FCEF-292A-0672-7C1D-EA937F6A5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733629-8F2C-F33C-1B20-5E3F7A1B1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6AF8C-2C60-545B-279C-6CA54DAEFC4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Singulation</a:t>
            </a:r>
            <a:r>
              <a:rPr lang="en-US" dirty="0"/>
              <a:t> page allows you to customize how RFID tags are filtered and managed during inventory oper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select the </a:t>
            </a:r>
            <a:r>
              <a:rPr lang="en-US" b="1" dirty="0"/>
              <a:t>Session</a:t>
            </a:r>
            <a:r>
              <a:rPr lang="en-US" dirty="0"/>
              <a:t>, enter the </a:t>
            </a:r>
            <a:r>
              <a:rPr lang="en-US" b="1" dirty="0"/>
              <a:t>Tag Population</a:t>
            </a:r>
            <a:r>
              <a:rPr lang="en-US" dirty="0"/>
              <a:t>, choose the </a:t>
            </a:r>
            <a:r>
              <a:rPr lang="en-US" b="1" dirty="0"/>
              <a:t>Inventory State</a:t>
            </a:r>
            <a:r>
              <a:rPr lang="en-US" dirty="0"/>
              <a:t>, and set the </a:t>
            </a:r>
            <a:r>
              <a:rPr lang="en-US" b="1" dirty="0"/>
              <a:t>SL Flag</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ce configured, click </a:t>
            </a:r>
            <a:r>
              <a:rPr lang="en-US" b="1" dirty="0"/>
              <a:t>Save</a:t>
            </a:r>
            <a:r>
              <a:rPr lang="en-US" dirty="0"/>
              <a:t> to apply the setting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more details on singulation, visit </a:t>
            </a:r>
            <a:r>
              <a:rPr lang="en-US" dirty="0">
                <a:hlinkClick r:id="rId3"/>
              </a:rPr>
              <a:t>techdocs.zebra.com</a:t>
            </a:r>
            <a:r>
              <a:rPr lang="en-US" dirty="0"/>
              <a:t>.</a:t>
            </a:r>
          </a:p>
          <a:p>
            <a:endParaRPr lang="en-US" dirty="0"/>
          </a:p>
        </p:txBody>
      </p:sp>
      <p:sp>
        <p:nvSpPr>
          <p:cNvPr id="4" name="Slide Number Placeholder 3">
            <a:extLst>
              <a:ext uri="{FF2B5EF4-FFF2-40B4-BE49-F238E27FC236}">
                <a16:creationId xmlns:a16="http://schemas.microsoft.com/office/drawing/2014/main" id="{169E06F6-F6D7-4588-0631-2D3D89F642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4968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C9204-5DE5-C4B1-6797-47BD5A336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73FFA-550F-F9B5-5E05-567B917300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57CA9-7B72-35AA-A449-FAF2841BA5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Prefilter</a:t>
            </a:r>
            <a:r>
              <a:rPr lang="en-US" dirty="0"/>
              <a:t> page allows users to manage up to 4 prefilters for tag filte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add a prefilter, select the </a:t>
            </a:r>
            <a:r>
              <a:rPr lang="en-US" b="1" dirty="0"/>
              <a:t>Prefilter Number</a:t>
            </a:r>
            <a:r>
              <a:rPr lang="en-US" dirty="0"/>
              <a:t>, choose the </a:t>
            </a:r>
            <a:r>
              <a:rPr lang="en-US" b="1" dirty="0"/>
              <a:t>Target, Action, and Memory Bank</a:t>
            </a:r>
            <a:r>
              <a:rPr lang="en-US" dirty="0"/>
              <a:t>, enter the </a:t>
            </a:r>
            <a:r>
              <a:rPr lang="en-US" b="1" dirty="0"/>
              <a:t>Pointer and Length</a:t>
            </a:r>
            <a:r>
              <a:rPr lang="en-US" dirty="0"/>
              <a:t>, and click </a:t>
            </a:r>
            <a:r>
              <a:rPr lang="en-US" b="1" dirty="0"/>
              <a:t>Save</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filters cannot be modified directly, so to make changes, you must delete the existing prefilter and create a new on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 single prefilter, select it and click the </a:t>
            </a:r>
            <a:r>
              <a:rPr lang="en-US" b="1" dirty="0"/>
              <a:t>Delete</a:t>
            </a:r>
            <a:r>
              <a:rPr lang="en-US" dirty="0"/>
              <a:t> butt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ll prefilters, use the </a:t>
            </a:r>
            <a:r>
              <a:rPr lang="en-US" b="1" dirty="0"/>
              <a:t>DELETE ALL PREFILTERS</a:t>
            </a:r>
            <a:r>
              <a:rPr lang="en-US" dirty="0"/>
              <a:t> option, which removes up to 32 prefilters at once.</a:t>
            </a:r>
          </a:p>
          <a:p>
            <a:endParaRPr lang="en-US" dirty="0"/>
          </a:p>
        </p:txBody>
      </p:sp>
      <p:sp>
        <p:nvSpPr>
          <p:cNvPr id="4" name="Slide Number Placeholder 3">
            <a:extLst>
              <a:ext uri="{FF2B5EF4-FFF2-40B4-BE49-F238E27FC236}">
                <a16:creationId xmlns:a16="http://schemas.microsoft.com/office/drawing/2014/main" id="{2C31C43E-3895-89DF-B3D4-F4A1EC3D2F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50241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70095-F5BF-FBEA-2077-10ECC92291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A134D-C83C-67C8-674C-A84D7BD376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884C3-ABE8-10F9-FE0B-885526FEA4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closer look at the </a:t>
            </a:r>
            <a:r>
              <a:rPr lang="en-US" b="1" dirty="0"/>
              <a:t>Gen2X Feature Demo: </a:t>
            </a:r>
            <a:r>
              <a:rPr lang="en-US" b="1" dirty="0" err="1"/>
              <a:t>TagFocus</a:t>
            </a:r>
            <a:r>
              <a:rPr lang="en-US" dirty="0"/>
              <a:t> and how it enhances RFID performance in dense tag environments.</a:t>
            </a:r>
          </a:p>
          <a:p>
            <a:endParaRPr lang="en-US" dirty="0"/>
          </a:p>
        </p:txBody>
      </p:sp>
      <p:sp>
        <p:nvSpPr>
          <p:cNvPr id="4" name="Slide Number Placeholder 3">
            <a:extLst>
              <a:ext uri="{FF2B5EF4-FFF2-40B4-BE49-F238E27FC236}">
                <a16:creationId xmlns:a16="http://schemas.microsoft.com/office/drawing/2014/main" id="{FC7AFF36-E344-9947-6862-C252EEA616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280763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8B32D-746E-DB72-9687-B00858FFA9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863A89-4A1F-ECA1-5AD3-9AE3B18692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C4FFE-8D3C-DE41-300A-7E75718514AB}"/>
              </a:ext>
            </a:extLst>
          </p:cNvPr>
          <p:cNvSpPr>
            <a:spLocks noGrp="1"/>
          </p:cNvSpPr>
          <p:nvPr>
            <p:ph type="body" idx="1"/>
          </p:nvPr>
        </p:nvSpPr>
        <p:spPr/>
        <p:txBody>
          <a:bodyPr/>
          <a:lstStyle/>
          <a:p>
            <a:r>
              <a:rPr lang="en-US" b="1" dirty="0" err="1"/>
              <a:t>TagFocus</a:t>
            </a:r>
            <a:r>
              <a:rPr lang="en-US" dirty="0"/>
              <a:t> is a specialized feature designed to improve RFID tag filtering by prioritizing specific tags, allowing the reader to focus more effectively in situations where there are large numbers of tags in the field. This feature is particularly beneficial when the reader is overwhelmed by hundreds or even thousands of tags responding simultaneously. In smaller tag populations, the standard session-based reading is often sufficient and may not show noticeable differences.</a:t>
            </a:r>
          </a:p>
          <a:p>
            <a:endParaRPr lang="en-US" dirty="0"/>
          </a:p>
          <a:p>
            <a:r>
              <a:rPr lang="en-US" dirty="0"/>
              <a:t>To demonstrate the impact of </a:t>
            </a:r>
            <a:r>
              <a:rPr lang="en-US" dirty="0" err="1"/>
              <a:t>TagFocus</a:t>
            </a:r>
            <a:r>
              <a:rPr lang="en-US" dirty="0"/>
              <a:t>, you’ll want to set up at least 100 tags to create a meaningful comparison. Start by performing an inventory without enabling </a:t>
            </a:r>
            <a:r>
              <a:rPr lang="en-US" dirty="0" err="1"/>
              <a:t>TagFocus</a:t>
            </a:r>
            <a:r>
              <a:rPr lang="en-US" dirty="0"/>
              <a:t>, allowing you to observe how tags behave under normal conditions. Then, enable </a:t>
            </a:r>
            <a:r>
              <a:rPr lang="en-US" dirty="0" err="1"/>
              <a:t>TagFocus</a:t>
            </a:r>
            <a:r>
              <a:rPr lang="en-US" dirty="0"/>
              <a:t> and perform another inventory. During this process, take note of how the feature impacts the speed and efficiency of reading tags.</a:t>
            </a:r>
          </a:p>
          <a:p>
            <a:endParaRPr lang="en-US" dirty="0"/>
          </a:p>
          <a:p>
            <a:r>
              <a:rPr lang="en-US" dirty="0"/>
              <a:t>The expected results highlight the difference:</a:t>
            </a:r>
            <a:br>
              <a:rPr lang="en-US" dirty="0"/>
            </a:br>
            <a:r>
              <a:rPr lang="en-US" dirty="0"/>
              <a:t>Without </a:t>
            </a:r>
            <a:r>
              <a:rPr lang="en-US" dirty="0" err="1"/>
              <a:t>TagFocus</a:t>
            </a:r>
            <a:r>
              <a:rPr lang="en-US" dirty="0"/>
              <a:t>, you’ll see higher read counts per tag, but it will take longer to inventory all tags. With </a:t>
            </a:r>
            <a:r>
              <a:rPr lang="en-US" dirty="0" err="1"/>
              <a:t>TagFocus</a:t>
            </a:r>
            <a:r>
              <a:rPr lang="en-US" dirty="0"/>
              <a:t>, the reader focuses more efficiently, resulting in lower read counts per tag but a much quicker process to read all tags in the field. </a:t>
            </a:r>
          </a:p>
        </p:txBody>
      </p:sp>
      <p:sp>
        <p:nvSpPr>
          <p:cNvPr id="4" name="Slide Number Placeholder 3">
            <a:extLst>
              <a:ext uri="{FF2B5EF4-FFF2-40B4-BE49-F238E27FC236}">
                <a16:creationId xmlns:a16="http://schemas.microsoft.com/office/drawing/2014/main" id="{7F183221-A657-567B-9C71-6043FCCBB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83604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BEE82-A988-D5E9-D14C-A67A34F636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8A5EA4-C0FF-315F-56DE-C86722813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8E15ED-DB41-E08E-7E0F-F225747A6436}"/>
              </a:ext>
            </a:extLst>
          </p:cNvPr>
          <p:cNvSpPr>
            <a:spLocks noGrp="1"/>
          </p:cNvSpPr>
          <p:nvPr>
            <p:ph type="body" idx="1"/>
          </p:nvPr>
        </p:nvSpPr>
        <p:spPr/>
        <p:txBody>
          <a:bodyPr/>
          <a:lstStyle/>
          <a:p>
            <a:r>
              <a:rPr lang="en-US" dirty="0"/>
              <a:t>To demonstrate the </a:t>
            </a:r>
            <a:r>
              <a:rPr lang="en-US" b="1" dirty="0" err="1"/>
              <a:t>TagFocus</a:t>
            </a:r>
            <a:r>
              <a:rPr lang="en-US" dirty="0"/>
              <a:t> feature, follow these steps to compare its performance with and without the feature enabled. </a:t>
            </a:r>
          </a:p>
          <a:p>
            <a:r>
              <a:rPr lang="en-US" b="1" dirty="0"/>
              <a:t>Step 1: Setup Tags for the Demo</a:t>
            </a:r>
            <a:br>
              <a:rPr lang="en-US" dirty="0"/>
            </a:br>
            <a:r>
              <a:rPr lang="en-US" dirty="0"/>
              <a:t>Start by arranging Gen2X-enabled tags in your test area and note the total number of tags available for the demonstration. This will help you measure and compare the results accurately. </a:t>
            </a:r>
          </a:p>
          <a:p>
            <a:r>
              <a:rPr lang="en-US" b="1" dirty="0"/>
              <a:t>Step 2: Inventory Without </a:t>
            </a:r>
            <a:r>
              <a:rPr lang="en-US" b="1" dirty="0" err="1"/>
              <a:t>TagFocus</a:t>
            </a:r>
            <a:br>
              <a:rPr lang="en-US" dirty="0"/>
            </a:br>
            <a:r>
              <a:rPr lang="en-US" dirty="0"/>
              <a:t>Before enabling </a:t>
            </a:r>
            <a:r>
              <a:rPr lang="en-US" dirty="0" err="1"/>
              <a:t>TagFocus</a:t>
            </a:r>
            <a:r>
              <a:rPr lang="en-US" dirty="0"/>
              <a:t>, configure the system using </a:t>
            </a:r>
            <a:r>
              <a:rPr lang="en-US" b="1" dirty="0"/>
              <a:t>Singulation</a:t>
            </a:r>
            <a:r>
              <a:rPr lang="en-US" dirty="0"/>
              <a:t> and/or </a:t>
            </a:r>
            <a:r>
              <a:rPr lang="en-US" b="1" dirty="0"/>
              <a:t>Prefilters</a:t>
            </a:r>
            <a:r>
              <a:rPr lang="en-US" dirty="0"/>
              <a:t> to align with your current application setup, or simply leave the settings as default. Ensure that the </a:t>
            </a:r>
            <a:r>
              <a:rPr lang="en-US" b="1" dirty="0" err="1"/>
              <a:t>TagFocus</a:t>
            </a:r>
            <a:r>
              <a:rPr lang="en-US" b="1" dirty="0"/>
              <a:t> checkbox is NOT checked</a:t>
            </a:r>
            <a:r>
              <a:rPr lang="en-US" dirty="0"/>
              <a:t>. </a:t>
            </a:r>
          </a:p>
          <a:p>
            <a:r>
              <a:rPr lang="en-US" dirty="0"/>
              <a:t>Begin the inventory process by clicking the </a:t>
            </a:r>
            <a:r>
              <a:rPr lang="en-US" b="1" dirty="0"/>
              <a:t>Start</a:t>
            </a:r>
            <a:r>
              <a:rPr lang="en-US" dirty="0"/>
              <a:t> button, allowing the reader to scan tags for a set period or until all unique tags are read. Once the inventory is complete, click the </a:t>
            </a:r>
            <a:r>
              <a:rPr lang="en-US" b="1" dirty="0"/>
              <a:t>Stop</a:t>
            </a:r>
            <a:r>
              <a:rPr lang="en-US" dirty="0"/>
              <a:t> button and observe the following key metrics: </a:t>
            </a:r>
          </a:p>
          <a:p>
            <a:r>
              <a:rPr lang="en-US" dirty="0"/>
              <a:t>The </a:t>
            </a:r>
            <a:r>
              <a:rPr lang="en-US" b="1" dirty="0"/>
              <a:t>Timer</a:t>
            </a:r>
            <a:r>
              <a:rPr lang="en-US" dirty="0"/>
              <a:t>, which tracks the duration of the inventory process. </a:t>
            </a:r>
          </a:p>
          <a:p>
            <a:r>
              <a:rPr lang="en-US" dirty="0"/>
              <a:t>The total number of </a:t>
            </a:r>
            <a:r>
              <a:rPr lang="en-US" b="1" dirty="0"/>
              <a:t>Unique Tags</a:t>
            </a:r>
            <a:r>
              <a:rPr lang="en-US" dirty="0"/>
              <a:t> read. </a:t>
            </a:r>
          </a:p>
          <a:p>
            <a:r>
              <a:rPr lang="en-US" dirty="0"/>
              <a:t>The count of </a:t>
            </a:r>
            <a:r>
              <a:rPr lang="en-US" b="1" dirty="0"/>
              <a:t>New Unique Tags</a:t>
            </a:r>
            <a:r>
              <a:rPr lang="en-US" dirty="0"/>
              <a:t> detected every 10 seconds. </a:t>
            </a:r>
          </a:p>
          <a:p>
            <a:r>
              <a:rPr lang="en-US" dirty="0"/>
              <a:t>The </a:t>
            </a:r>
            <a:r>
              <a:rPr lang="en-US" b="1" dirty="0"/>
              <a:t>Count per Tag</a:t>
            </a:r>
            <a:r>
              <a:rPr lang="en-US" dirty="0"/>
              <a:t>, which typically varies, with some tags showing very high reads per second and others much lower.</a:t>
            </a:r>
          </a:p>
          <a:p>
            <a:r>
              <a:rPr lang="en-US" dirty="0"/>
              <a:t>By carefully observing these metrics, you’ll establish a baseline of how the system performs without </a:t>
            </a:r>
            <a:r>
              <a:rPr lang="en-US" dirty="0" err="1"/>
              <a:t>TagFocus</a:t>
            </a:r>
            <a:r>
              <a:rPr lang="en-US" dirty="0"/>
              <a:t>, providing a point of comparison for when the feature is enabled.</a:t>
            </a:r>
          </a:p>
          <a:p>
            <a:endParaRPr lang="en-US" dirty="0"/>
          </a:p>
          <a:p>
            <a:endParaRPr lang="en-US" dirty="0"/>
          </a:p>
        </p:txBody>
      </p:sp>
      <p:sp>
        <p:nvSpPr>
          <p:cNvPr id="4" name="Slide Number Placeholder 3">
            <a:extLst>
              <a:ext uri="{FF2B5EF4-FFF2-40B4-BE49-F238E27FC236}">
                <a16:creationId xmlns:a16="http://schemas.microsoft.com/office/drawing/2014/main" id="{D21080C3-551E-62B9-FDD4-09AA4C8D36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35112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6F60C-C906-7A84-F965-DBEF69DF13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4DA64A-EF35-F86B-6908-E110D7BE3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FBDBAB-EA54-0BEB-8504-184D60EEE13F}"/>
              </a:ext>
            </a:extLst>
          </p:cNvPr>
          <p:cNvSpPr>
            <a:spLocks noGrp="1"/>
          </p:cNvSpPr>
          <p:nvPr>
            <p:ph type="body" idx="1"/>
          </p:nvPr>
        </p:nvSpPr>
        <p:spPr/>
        <p:txBody>
          <a:bodyPr/>
          <a:lstStyle/>
          <a:p>
            <a:r>
              <a:rPr lang="en-US" dirty="0"/>
              <a:t>Today, we’re excited to give you a </a:t>
            </a:r>
            <a:r>
              <a:rPr lang="en-US" b="1" dirty="0"/>
              <a:t>first look</a:t>
            </a:r>
            <a:r>
              <a:rPr lang="en-US" dirty="0"/>
              <a:t> at the </a:t>
            </a:r>
            <a:r>
              <a:rPr lang="en-US" b="1" dirty="0"/>
              <a:t>Zebra Gen2X Q3 Android SDK Release</a:t>
            </a:r>
            <a:r>
              <a:rPr lang="en-US" dirty="0"/>
              <a:t>. </a:t>
            </a:r>
          </a:p>
        </p:txBody>
      </p:sp>
      <p:sp>
        <p:nvSpPr>
          <p:cNvPr id="4" name="Slide Number Placeholder 3">
            <a:extLst>
              <a:ext uri="{FF2B5EF4-FFF2-40B4-BE49-F238E27FC236}">
                <a16:creationId xmlns:a16="http://schemas.microsoft.com/office/drawing/2014/main" id="{23672167-EDD7-F9E6-EE94-FE85766CEB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81773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937C1-2482-2D0A-BE21-9AEB6848E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7F17C8-83F5-1E23-5383-7E5ED528F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99AE0-BD36-6D7E-CE58-DB517D0899EC}"/>
              </a:ext>
            </a:extLst>
          </p:cNvPr>
          <p:cNvSpPr>
            <a:spLocks noGrp="1"/>
          </p:cNvSpPr>
          <p:nvPr>
            <p:ph type="body" idx="1"/>
          </p:nvPr>
        </p:nvSpPr>
        <p:spPr/>
        <p:txBody>
          <a:bodyPr/>
          <a:lstStyle/>
          <a:p>
            <a:r>
              <a:rPr lang="en-US" sz="2000" dirty="0"/>
              <a:t>To continue the </a:t>
            </a:r>
            <a:r>
              <a:rPr lang="en-US" sz="2000" b="1" dirty="0" err="1"/>
              <a:t>TagFocus</a:t>
            </a:r>
            <a:r>
              <a:rPr lang="en-US" sz="2000" dirty="0"/>
              <a:t> demonstration, we’ll now enable the feature and compare the results to the baseline established earlier. </a:t>
            </a:r>
          </a:p>
          <a:p>
            <a:r>
              <a:rPr lang="en-US" sz="2000" b="1" dirty="0"/>
              <a:t>Step 3: Inventory With </a:t>
            </a:r>
            <a:r>
              <a:rPr lang="en-US" sz="2000" b="1" dirty="0" err="1"/>
              <a:t>TagFocus</a:t>
            </a:r>
            <a:br>
              <a:rPr lang="en-US" sz="2000" dirty="0"/>
            </a:br>
            <a:r>
              <a:rPr lang="en-US" sz="2000" dirty="0"/>
              <a:t>Start by clearing the previous results using the </a:t>
            </a:r>
            <a:r>
              <a:rPr lang="en-US" sz="2000" b="1" dirty="0"/>
              <a:t>Clear</a:t>
            </a:r>
            <a:r>
              <a:rPr lang="en-US" sz="2000" dirty="0"/>
              <a:t> button. Then, enable </a:t>
            </a:r>
            <a:r>
              <a:rPr lang="en-US" sz="2000" b="1" dirty="0" err="1"/>
              <a:t>TagFocus</a:t>
            </a:r>
            <a:r>
              <a:rPr lang="en-US" sz="2000" dirty="0"/>
              <a:t> by selecting the checkbox. This ensures the feature is active for the next inventory cycle. </a:t>
            </a:r>
          </a:p>
          <a:p>
            <a:r>
              <a:rPr lang="en-US" sz="2000" dirty="0"/>
              <a:t>Click the </a:t>
            </a:r>
            <a:r>
              <a:rPr lang="en-US" sz="2000" b="1" dirty="0"/>
              <a:t>Start</a:t>
            </a:r>
            <a:r>
              <a:rPr lang="en-US" sz="2000" dirty="0"/>
              <a:t> button to begin the inventory process with </a:t>
            </a:r>
            <a:r>
              <a:rPr lang="en-US" sz="2000" dirty="0" err="1"/>
              <a:t>TagFocus</a:t>
            </a:r>
            <a:r>
              <a:rPr lang="en-US" sz="2000" dirty="0"/>
              <a:t> enabled. Allow the reader to scan tags for the same set period or until all unique tags are read. Once the inventory is complete, click the </a:t>
            </a:r>
            <a:r>
              <a:rPr lang="en-US" sz="2000" b="1" dirty="0"/>
              <a:t>Stop</a:t>
            </a:r>
            <a:r>
              <a:rPr lang="en-US" sz="2000" dirty="0"/>
              <a:t> button and observe the key metrics again: </a:t>
            </a:r>
          </a:p>
          <a:p>
            <a:r>
              <a:rPr lang="en-US" sz="2000" dirty="0"/>
              <a:t>The </a:t>
            </a:r>
            <a:r>
              <a:rPr lang="en-US" sz="2000" b="1" dirty="0"/>
              <a:t>Timer</a:t>
            </a:r>
            <a:r>
              <a:rPr lang="en-US" sz="2000" dirty="0"/>
              <a:t>, to see how long the inventory process took. </a:t>
            </a:r>
          </a:p>
          <a:p>
            <a:r>
              <a:rPr lang="en-US" sz="2000" dirty="0"/>
              <a:t>The total number of </a:t>
            </a:r>
            <a:r>
              <a:rPr lang="en-US" sz="2000" b="1" dirty="0"/>
              <a:t>Unique Tags</a:t>
            </a:r>
            <a:r>
              <a:rPr lang="en-US" sz="2000" dirty="0"/>
              <a:t> read. </a:t>
            </a:r>
          </a:p>
          <a:p>
            <a:r>
              <a:rPr lang="en-US" sz="2000" dirty="0"/>
              <a:t>The count of </a:t>
            </a:r>
            <a:r>
              <a:rPr lang="en-US" sz="2000" b="1" dirty="0"/>
              <a:t>New Unique Tags</a:t>
            </a:r>
            <a:r>
              <a:rPr lang="en-US" sz="2000" dirty="0"/>
              <a:t> detected every 10 seconds. </a:t>
            </a:r>
          </a:p>
          <a:p>
            <a:r>
              <a:rPr lang="en-US" sz="2000" dirty="0"/>
              <a:t>The </a:t>
            </a:r>
            <a:r>
              <a:rPr lang="en-US" sz="2000" b="1" dirty="0"/>
              <a:t>Count per Tag</a:t>
            </a:r>
            <a:r>
              <a:rPr lang="en-US" sz="2000" dirty="0"/>
              <a:t>, which you’ll generally expect to be 1. However, some tags may be read 2-3 times if they do not receive the select command in the first round.</a:t>
            </a:r>
          </a:p>
          <a:p>
            <a:r>
              <a:rPr lang="en-US" sz="2000" b="1" dirty="0"/>
              <a:t>Step 4: Observe and Compare Results</a:t>
            </a:r>
            <a:br>
              <a:rPr lang="en-US" sz="2000" dirty="0"/>
            </a:br>
            <a:r>
              <a:rPr lang="en-US" sz="2000" dirty="0"/>
              <a:t>Now, compare the results from the two inventories: </a:t>
            </a:r>
          </a:p>
          <a:p>
            <a:r>
              <a:rPr lang="en-US" sz="2000" dirty="0"/>
              <a:t>Was there a difference in the total number of tags read? </a:t>
            </a:r>
          </a:p>
          <a:p>
            <a:r>
              <a:rPr lang="en-US" sz="2000" dirty="0"/>
              <a:t>Did enabling </a:t>
            </a:r>
            <a:r>
              <a:rPr lang="en-US" sz="2000" dirty="0" err="1"/>
              <a:t>TagFocus</a:t>
            </a:r>
            <a:r>
              <a:rPr lang="en-US" sz="2000" dirty="0"/>
              <a:t> result in fewer reads per tag? </a:t>
            </a:r>
          </a:p>
          <a:p>
            <a:r>
              <a:rPr lang="en-US" sz="2000" dirty="0"/>
              <a:t>Were all tags read faster when </a:t>
            </a:r>
            <a:r>
              <a:rPr lang="en-US" sz="2000" dirty="0" err="1"/>
              <a:t>TagFocus</a:t>
            </a:r>
            <a:r>
              <a:rPr lang="en-US" sz="2000" dirty="0"/>
              <a:t> was enabled?</a:t>
            </a:r>
          </a:p>
          <a:p>
            <a:r>
              <a:rPr lang="en-US" sz="2000" dirty="0"/>
              <a:t>It’s important to note that in low-density tag environments, the benefit of </a:t>
            </a:r>
            <a:r>
              <a:rPr lang="en-US" sz="2000" dirty="0" err="1"/>
              <a:t>TagFocus</a:t>
            </a:r>
            <a:r>
              <a:rPr lang="en-US" sz="2000" dirty="0"/>
              <a:t> may not be as noticeable. In these cases, the reader can typically handle the limited number of tags without significant redundancy or delays. However, in high-density environments, the improvements in speed and efficiency with </a:t>
            </a:r>
            <a:r>
              <a:rPr lang="en-US" sz="2000" dirty="0" err="1"/>
              <a:t>TagFocus</a:t>
            </a:r>
            <a:r>
              <a:rPr lang="en-US" sz="2000" dirty="0"/>
              <a:t> enabled should be clear.</a:t>
            </a:r>
          </a:p>
        </p:txBody>
      </p:sp>
      <p:sp>
        <p:nvSpPr>
          <p:cNvPr id="4" name="Slide Number Placeholder 3">
            <a:extLst>
              <a:ext uri="{FF2B5EF4-FFF2-40B4-BE49-F238E27FC236}">
                <a16:creationId xmlns:a16="http://schemas.microsoft.com/office/drawing/2014/main" id="{F651F4D3-1F9A-EB5C-24D9-49046A4D79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087142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34549-58C4-C5AB-37C6-481D3A77B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6E5112-790E-77B2-3136-9ECA491C7F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BB72C-9170-A889-2669-191C970B76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explore the </a:t>
            </a:r>
            <a:r>
              <a:rPr lang="en-US" b="1" dirty="0"/>
              <a:t>Gen2X Feature Demo: Tag Quieting</a:t>
            </a:r>
            <a:r>
              <a:rPr lang="en-US" dirty="0"/>
              <a:t>, a powerful tool for managing large tag populations and improving inventory performance.</a:t>
            </a:r>
          </a:p>
          <a:p>
            <a:endParaRPr lang="en-US" dirty="0"/>
          </a:p>
        </p:txBody>
      </p:sp>
      <p:sp>
        <p:nvSpPr>
          <p:cNvPr id="4" name="Slide Number Placeholder 3">
            <a:extLst>
              <a:ext uri="{FF2B5EF4-FFF2-40B4-BE49-F238E27FC236}">
                <a16:creationId xmlns:a16="http://schemas.microsoft.com/office/drawing/2014/main" id="{CEDC7BCE-CEED-0487-DA63-D04DE00063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837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BCCAF-D1BD-AE31-D77F-A47DEDFB9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DCC0A7-8AEA-40D7-0A80-E1CB1CFC9F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49E22-B791-48F4-D900-C703308734CE}"/>
              </a:ext>
            </a:extLst>
          </p:cNvPr>
          <p:cNvSpPr>
            <a:spLocks noGrp="1"/>
          </p:cNvSpPr>
          <p:nvPr>
            <p:ph type="body" idx="1"/>
          </p:nvPr>
        </p:nvSpPr>
        <p:spPr/>
        <p:txBody>
          <a:bodyPr/>
          <a:lstStyle/>
          <a:p>
            <a:r>
              <a:rPr lang="en-US" b="1" dirty="0"/>
              <a:t>What is Tag Quieting?</a:t>
            </a:r>
            <a:br>
              <a:rPr lang="en-US" dirty="0"/>
            </a:br>
            <a:r>
              <a:rPr lang="en-US" dirty="0"/>
              <a:t>Tag Quieting is a feature that helps reduce tag clutter by allowing system integrators to control when individual tags participate in inventory rounds. By quieting specific tags, the total number of tags responding during an inventory round is reduced, leading to significant performance improvements in terms of speed and efficiency.</a:t>
            </a:r>
          </a:p>
          <a:p>
            <a:r>
              <a:rPr lang="en-US" b="1" dirty="0"/>
              <a:t>When to Use Tag Quieting?</a:t>
            </a:r>
            <a:br>
              <a:rPr lang="en-US" dirty="0"/>
            </a:br>
            <a:r>
              <a:rPr lang="en-US" dirty="0"/>
              <a:t>Tag Quieting is most effective in scenarios with: </a:t>
            </a:r>
          </a:p>
          <a:p>
            <a:r>
              <a:rPr lang="en-US" b="1" dirty="0"/>
              <a:t>Medium- to large-sized tag populations</a:t>
            </a:r>
            <a:r>
              <a:rPr lang="en-US" dirty="0"/>
              <a:t>, typically 100 or more tags. </a:t>
            </a:r>
          </a:p>
          <a:p>
            <a:r>
              <a:rPr lang="en-US" dirty="0"/>
              <a:t>A requirement to handle </a:t>
            </a:r>
            <a:r>
              <a:rPr lang="en-US" b="1" dirty="0"/>
              <a:t>multiple tag events involving the same tag(s)</a:t>
            </a:r>
            <a:r>
              <a:rPr lang="en-US" dirty="0"/>
              <a:t>, such as repeated reads over time. </a:t>
            </a:r>
          </a:p>
          <a:p>
            <a:r>
              <a:rPr lang="en-US" dirty="0"/>
              <a:t>The presence of a </a:t>
            </a:r>
            <a:r>
              <a:rPr lang="en-US" b="1" dirty="0"/>
              <a:t>subpopulation of tags</a:t>
            </a:r>
            <a:r>
              <a:rPr lang="en-US" dirty="0"/>
              <a:t> that can be identified as strays or meet specific criteria suitable for quieting.</a:t>
            </a:r>
          </a:p>
          <a:p>
            <a:r>
              <a:rPr lang="en-US" b="1" dirty="0"/>
              <a:t>How Does Tag Quieting Differ from </a:t>
            </a:r>
            <a:r>
              <a:rPr lang="en-US" b="1" dirty="0" err="1"/>
              <a:t>TagFocus</a:t>
            </a:r>
            <a:r>
              <a:rPr lang="en-US" b="1" dirty="0"/>
              <a:t>?</a:t>
            </a:r>
            <a:br>
              <a:rPr lang="en-US" dirty="0"/>
            </a:br>
            <a:r>
              <a:rPr lang="en-US" dirty="0"/>
              <a:t>While both features aim to improve inventory performance, their approaches are different: </a:t>
            </a:r>
          </a:p>
          <a:p>
            <a:r>
              <a:rPr lang="en-US" b="1" dirty="0" err="1"/>
              <a:t>TagFocus</a:t>
            </a:r>
            <a:r>
              <a:rPr lang="en-US" dirty="0"/>
              <a:t> uses a fixed configuration to suppress tags and achieve faster inventory rates. </a:t>
            </a:r>
          </a:p>
          <a:p>
            <a:r>
              <a:rPr lang="en-US" b="1" dirty="0"/>
              <a:t>Tag Quieting</a:t>
            </a:r>
            <a:r>
              <a:rPr lang="en-US" dirty="0"/>
              <a:t>, on the other hand, is more dynamic and configurable, allowing users to control exactly when tags participate in inventory rounds. This flexibility makes it ideal for augmenting existing solutions and tailoring tag behavior to specific operational needs.</a:t>
            </a:r>
          </a:p>
          <a:p>
            <a:endParaRPr lang="en-US" dirty="0"/>
          </a:p>
        </p:txBody>
      </p:sp>
      <p:sp>
        <p:nvSpPr>
          <p:cNvPr id="4" name="Slide Number Placeholder 3">
            <a:extLst>
              <a:ext uri="{FF2B5EF4-FFF2-40B4-BE49-F238E27FC236}">
                <a16:creationId xmlns:a16="http://schemas.microsoft.com/office/drawing/2014/main" id="{F4D17948-1ED9-F82D-1E9D-2D08479505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613679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B497F-5579-BF60-5F61-15FD42DC2C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B1C66-E631-0F69-3031-D6B793B2F5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63A169-1BCE-28DB-6DEC-3DAC08B1931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ere’s how to demonstrate Tag Quieting:</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setting up at least </a:t>
            </a:r>
            <a:r>
              <a:rPr lang="en-US" sz="1200" b="1" i="0" kern="1200" dirty="0">
                <a:solidFill>
                  <a:schemeClr val="tx1"/>
                </a:solidFill>
                <a:effectLst/>
                <a:latin typeface="+mn-lt"/>
                <a:ea typeface="+mn-ea"/>
                <a:cs typeface="+mn-cs"/>
              </a:rPr>
              <a:t>100 Gen2X-enabled tags</a:t>
            </a:r>
            <a:r>
              <a:rPr lang="en-US" sz="1200" b="0" i="0" kern="1200" dirty="0">
                <a:solidFill>
                  <a:schemeClr val="tx1"/>
                </a:solidFill>
                <a:effectLst/>
                <a:latin typeface="+mn-lt"/>
                <a:ea typeface="+mn-ea"/>
                <a:cs typeface="+mn-cs"/>
              </a:rPr>
              <a:t> to get meaningful results.</a:t>
            </a:r>
          </a:p>
          <a:p>
            <a:r>
              <a:rPr lang="en-US" sz="1200" b="0" i="0" kern="1200" dirty="0">
                <a:solidFill>
                  <a:schemeClr val="tx1"/>
                </a:solidFill>
                <a:effectLst/>
                <a:latin typeface="+mn-lt"/>
                <a:ea typeface="+mn-ea"/>
                <a:cs typeface="+mn-cs"/>
              </a:rPr>
              <a:t>Run an </a:t>
            </a:r>
            <a:r>
              <a:rPr lang="en-US" sz="1200" b="1" i="0" kern="1200" dirty="0">
                <a:solidFill>
                  <a:schemeClr val="tx1"/>
                </a:solidFill>
                <a:effectLst/>
                <a:latin typeface="+mn-lt"/>
                <a:ea typeface="+mn-ea"/>
                <a:cs typeface="+mn-cs"/>
              </a:rPr>
              <a:t>inventory without quieting any tags</a:t>
            </a:r>
            <a:r>
              <a:rPr lang="en-US" sz="1200" b="0" i="0" kern="1200" dirty="0">
                <a:solidFill>
                  <a:schemeClr val="tx1"/>
                </a:solidFill>
                <a:effectLst/>
                <a:latin typeface="+mn-lt"/>
                <a:ea typeface="+mn-ea"/>
                <a:cs typeface="+mn-cs"/>
              </a:rPr>
              <a:t> to observe the baseline behavior.</a:t>
            </a:r>
          </a:p>
          <a:p>
            <a:r>
              <a:rPr lang="en-US" sz="1200" b="0" i="0" kern="1200" dirty="0">
                <a:solidFill>
                  <a:schemeClr val="tx1"/>
                </a:solidFill>
                <a:effectLst/>
                <a:latin typeface="+mn-lt"/>
                <a:ea typeface="+mn-ea"/>
                <a:cs typeface="+mn-cs"/>
              </a:rPr>
              <a:t>Select and </a:t>
            </a:r>
            <a:r>
              <a:rPr lang="en-US" sz="1200" b="1" i="0" kern="1200" dirty="0">
                <a:solidFill>
                  <a:schemeClr val="tx1"/>
                </a:solidFill>
                <a:effectLst/>
                <a:latin typeface="+mn-lt"/>
                <a:ea typeface="+mn-ea"/>
                <a:cs typeface="+mn-cs"/>
              </a:rPr>
              <a:t>quiet specific tags</a:t>
            </a:r>
            <a:r>
              <a:rPr lang="en-US" sz="1200" b="0" i="0" kern="1200" dirty="0">
                <a:solidFill>
                  <a:schemeClr val="tx1"/>
                </a:solidFill>
                <a:effectLst/>
                <a:latin typeface="+mn-lt"/>
                <a:ea typeface="+mn-ea"/>
                <a:cs typeface="+mn-cs"/>
              </a:rPr>
              <a:t> in your inventory.</a:t>
            </a:r>
          </a:p>
          <a:p>
            <a:r>
              <a:rPr lang="en-US" sz="1200" b="0" i="0" kern="1200" dirty="0">
                <a:solidFill>
                  <a:schemeClr val="tx1"/>
                </a:solidFill>
                <a:effectLst/>
                <a:latin typeface="+mn-lt"/>
                <a:ea typeface="+mn-ea"/>
                <a:cs typeface="+mn-cs"/>
              </a:rPr>
              <a:t>Then, </a:t>
            </a:r>
            <a:r>
              <a:rPr lang="en-US" sz="1200" b="1" i="0" kern="1200" dirty="0">
                <a:solidFill>
                  <a:schemeClr val="tx1"/>
                </a:solidFill>
                <a:effectLst/>
                <a:latin typeface="+mn-lt"/>
                <a:ea typeface="+mn-ea"/>
                <a:cs typeface="+mn-cs"/>
              </a:rPr>
              <a:t>un-quiet those tags</a:t>
            </a:r>
            <a:r>
              <a:rPr lang="en-US" sz="1200" b="0" i="0" kern="1200" dirty="0">
                <a:solidFill>
                  <a:schemeClr val="tx1"/>
                </a:solidFill>
                <a:effectLst/>
                <a:latin typeface="+mn-lt"/>
                <a:ea typeface="+mn-ea"/>
                <a:cs typeface="+mn-cs"/>
              </a:rPr>
              <a:t> to restore their visibility.</a:t>
            </a:r>
          </a:p>
          <a:p>
            <a:r>
              <a:rPr lang="en-US" sz="1200" b="0" i="0" kern="1200" dirty="0">
                <a:solidFill>
                  <a:schemeClr val="tx1"/>
                </a:solidFill>
                <a:effectLst/>
                <a:latin typeface="+mn-lt"/>
                <a:ea typeface="+mn-ea"/>
                <a:cs typeface="+mn-cs"/>
              </a:rPr>
              <a:t>Throughout the process, </a:t>
            </a:r>
            <a:r>
              <a:rPr lang="en-US" sz="1200" b="1" i="0" kern="1200" dirty="0">
                <a:solidFill>
                  <a:schemeClr val="tx1"/>
                </a:solidFill>
                <a:effectLst/>
                <a:latin typeface="+mn-lt"/>
                <a:ea typeface="+mn-ea"/>
                <a:cs typeface="+mn-cs"/>
              </a:rPr>
              <a:t>observe and compare the results</a:t>
            </a:r>
            <a:r>
              <a:rPr lang="en-US" sz="1200" b="0" i="0" kern="1200" dirty="0">
                <a:solidFill>
                  <a:schemeClr val="tx1"/>
                </a:solidFill>
                <a:effectLst/>
                <a:latin typeface="+mn-lt"/>
                <a:ea typeface="+mn-ea"/>
                <a:cs typeface="+mn-cs"/>
              </a:rPr>
              <a:t> to understand the impact.</a:t>
            </a:r>
          </a:p>
          <a:p>
            <a:r>
              <a:rPr lang="en-US" sz="1200" b="1" i="0" kern="1200" dirty="0">
                <a:solidFill>
                  <a:schemeClr val="tx1"/>
                </a:solidFill>
                <a:effectLst/>
                <a:latin typeface="+mn-lt"/>
                <a:ea typeface="+mn-ea"/>
                <a:cs typeface="+mn-cs"/>
              </a:rPr>
              <a:t>Here’s what you should expect to se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ithout Tag Quieting</a:t>
            </a:r>
            <a:r>
              <a:rPr lang="en-US" sz="1200" b="0" i="0" kern="1200" dirty="0">
                <a:solidFill>
                  <a:schemeClr val="tx1"/>
                </a:solidFill>
                <a:effectLst/>
                <a:latin typeface="+mn-lt"/>
                <a:ea typeface="+mn-ea"/>
                <a:cs typeface="+mn-cs"/>
              </a:rPr>
              <a:t>: You’ll notice that most tags are read multiple times. Some tags may have very high read rates per second, while others may have much lower rates.</a:t>
            </a:r>
          </a:p>
          <a:p>
            <a:r>
              <a:rPr lang="en-US" sz="1200" b="1" i="0" kern="1200" dirty="0">
                <a:solidFill>
                  <a:schemeClr val="tx1"/>
                </a:solidFill>
                <a:effectLst/>
                <a:latin typeface="+mn-lt"/>
                <a:ea typeface="+mn-ea"/>
                <a:cs typeface="+mn-cs"/>
              </a:rPr>
              <a:t>With Tag Quieting</a:t>
            </a:r>
            <a:r>
              <a:rPr lang="en-US" sz="1200" b="0" i="0" kern="1200" dirty="0">
                <a:solidFill>
                  <a:schemeClr val="tx1"/>
                </a:solidFill>
                <a:effectLst/>
                <a:latin typeface="+mn-lt"/>
                <a:ea typeface="+mn-ea"/>
                <a:cs typeface="+mn-cs"/>
              </a:rPr>
              <a:t>: Quieted tags will stop being read entirely, which allows the system to focus on the remaining un-quieted tags. This often results in increased counts and read rates for the un-quieted tags.</a:t>
            </a:r>
          </a:p>
          <a:p>
            <a:endParaRPr lang="en-US" dirty="0"/>
          </a:p>
        </p:txBody>
      </p:sp>
      <p:sp>
        <p:nvSpPr>
          <p:cNvPr id="4" name="Slide Number Placeholder 3">
            <a:extLst>
              <a:ext uri="{FF2B5EF4-FFF2-40B4-BE49-F238E27FC236}">
                <a16:creationId xmlns:a16="http://schemas.microsoft.com/office/drawing/2014/main" id="{713A56AD-CE9C-C676-AE2E-E80501D076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1146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1CA2E-8539-5E47-E677-0FDAFC059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6AA0B0-4599-87E2-DA2C-C32FB9B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63F60-1C0B-2B01-7AF0-4A2FB9581603}"/>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go through the firs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setting up and running inventory without quieted tags.</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Take note of the total number of tags available for the demo.</a:t>
            </a:r>
          </a:p>
          <a:p>
            <a:r>
              <a:rPr lang="en-US" sz="1200" b="1" i="0" kern="1200" dirty="0">
                <a:solidFill>
                  <a:schemeClr val="tx1"/>
                </a:solidFill>
                <a:effectLst/>
                <a:latin typeface="+mn-lt"/>
                <a:ea typeface="+mn-ea"/>
                <a:cs typeface="+mn-cs"/>
              </a:rPr>
              <a:t>Step 2: Inventory Without Quie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Finally,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key metrics:</a:t>
            </a:r>
          </a:p>
          <a:p>
            <a:pPr lvl="1"/>
            <a:r>
              <a:rPr lang="en-US" sz="1200" b="1" i="0" kern="1200" dirty="0">
                <a:solidFill>
                  <a:schemeClr val="tx1"/>
                </a:solidFill>
                <a:effectLst/>
                <a:latin typeface="+mn-lt"/>
                <a:ea typeface="+mn-ea"/>
                <a:cs typeface="+mn-cs"/>
              </a:rPr>
              <a:t>Timer</a:t>
            </a:r>
            <a:r>
              <a:rPr lang="en-US" sz="1200" b="0" i="0" kern="1200" dirty="0">
                <a:solidFill>
                  <a:schemeClr val="tx1"/>
                </a:solidFill>
                <a:effectLst/>
                <a:latin typeface="+mn-lt"/>
                <a:ea typeface="+mn-ea"/>
                <a:cs typeface="+mn-cs"/>
              </a:rPr>
              <a:t>: How long the inventory process ran.</a:t>
            </a:r>
          </a:p>
          <a:p>
            <a:pPr lvl="1"/>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The total number of unique tags detected.</a:t>
            </a:r>
          </a:p>
          <a:p>
            <a:pPr lvl="1"/>
            <a:r>
              <a:rPr lang="en-US" sz="1200" b="1" i="0" kern="1200" dirty="0">
                <a:solidFill>
                  <a:schemeClr val="tx1"/>
                </a:solidFill>
                <a:effectLst/>
                <a:latin typeface="+mn-lt"/>
                <a:ea typeface="+mn-ea"/>
                <a:cs typeface="+mn-cs"/>
              </a:rPr>
              <a:t>New Unique Tags in every 10 seconds</a:t>
            </a:r>
            <a:r>
              <a:rPr lang="en-US" sz="1200" b="0" i="0" kern="1200" dirty="0">
                <a:solidFill>
                  <a:schemeClr val="tx1"/>
                </a:solidFill>
                <a:effectLst/>
                <a:latin typeface="+mn-lt"/>
                <a:ea typeface="+mn-ea"/>
                <a:cs typeface="+mn-cs"/>
              </a:rPr>
              <a:t>: How many new tags were read during each interval.</a:t>
            </a:r>
          </a:p>
          <a:p>
            <a:pPr lvl="1"/>
            <a:r>
              <a:rPr lang="en-US" sz="1200" b="1" i="0" kern="1200" dirty="0">
                <a:solidFill>
                  <a:schemeClr val="tx1"/>
                </a:solidFill>
                <a:effectLst/>
                <a:latin typeface="+mn-lt"/>
                <a:ea typeface="+mn-ea"/>
                <a:cs typeface="+mn-cs"/>
              </a:rPr>
              <a:t>Count per Tag</a:t>
            </a:r>
            <a:r>
              <a:rPr lang="en-US" sz="1200" b="0" i="0" kern="1200" dirty="0">
                <a:solidFill>
                  <a:schemeClr val="tx1"/>
                </a:solidFill>
                <a:effectLst/>
                <a:latin typeface="+mn-lt"/>
                <a:ea typeface="+mn-ea"/>
                <a:cs typeface="+mn-cs"/>
              </a:rPr>
              <a:t>: You’ll generally see variation here, with some tags showing high read rates per second and others showing lower rates.</a:t>
            </a:r>
          </a:p>
          <a:p>
            <a:r>
              <a:rPr lang="en-US" sz="1200" b="0" i="0" kern="1200" dirty="0">
                <a:solidFill>
                  <a:schemeClr val="tx1"/>
                </a:solidFill>
                <a:effectLst/>
                <a:latin typeface="+mn-lt"/>
                <a:ea typeface="+mn-ea"/>
                <a:cs typeface="+mn-cs"/>
              </a:rPr>
              <a:t>This gives us a baseline to compare against when we introduce Tag Quieting in the next steps.</a:t>
            </a:r>
          </a:p>
          <a:p>
            <a:endParaRPr lang="en-US" dirty="0"/>
          </a:p>
        </p:txBody>
      </p:sp>
      <p:sp>
        <p:nvSpPr>
          <p:cNvPr id="4" name="Slide Number Placeholder 3">
            <a:extLst>
              <a:ext uri="{FF2B5EF4-FFF2-40B4-BE49-F238E27FC236}">
                <a16:creationId xmlns:a16="http://schemas.microsoft.com/office/drawing/2014/main" id="{A96ABE9A-A702-3578-EF32-03F199DC1C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053670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6C73-BDE1-9FA0-964D-6157C49335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69922-17B1-0EB7-859A-96FEF31717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896441-53A1-348A-77A8-A9A5F4E8C24C}"/>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quieting tags. You have two options here, depending on your use case:</a:t>
            </a:r>
          </a:p>
          <a:p>
            <a:r>
              <a:rPr lang="en-US" sz="1200" b="1" i="0" kern="1200" dirty="0">
                <a:solidFill>
                  <a:schemeClr val="tx1"/>
                </a:solidFill>
                <a:effectLst/>
                <a:latin typeface="+mn-lt"/>
                <a:ea typeface="+mn-ea"/>
                <a:cs typeface="+mn-cs"/>
              </a:rPr>
              <a:t>Option 1: Quiet Selected Tags (up to 31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clearing the screen and restarting the inventory process—</a:t>
            </a:r>
            <a:r>
              <a:rPr lang="en-US" sz="1200" b="1" i="0" kern="1200" dirty="0">
                <a:solidFill>
                  <a:schemeClr val="tx1"/>
                </a:solidFill>
                <a:effectLst/>
                <a:latin typeface="+mn-lt"/>
                <a:ea typeface="+mn-ea"/>
                <a:cs typeface="+mn-cs"/>
              </a:rPr>
              <a:t>but don’t stop it ye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Select specific tags to quiet by checking the box next to their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n, 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those tags.</a:t>
            </a:r>
          </a:p>
          <a:p>
            <a:r>
              <a:rPr lang="en-US" sz="1200" b="0" i="0" kern="1200" dirty="0">
                <a:solidFill>
                  <a:schemeClr val="tx1"/>
                </a:solidFill>
                <a:effectLst/>
                <a:latin typeface="+mn-lt"/>
                <a:ea typeface="+mn-ea"/>
                <a:cs typeface="+mn-cs"/>
              </a:rPr>
              <a:t>You’ll notice the selected tags change to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making them easy to differentiate from other tags.</a:t>
            </a:r>
          </a:p>
          <a:p>
            <a:r>
              <a:rPr lang="en-US" sz="1200" b="1" i="0" kern="1200" dirty="0">
                <a:solidFill>
                  <a:schemeClr val="tx1"/>
                </a:solidFill>
                <a:effectLst/>
                <a:latin typeface="+mn-lt"/>
                <a:ea typeface="+mn-ea"/>
                <a:cs typeface="+mn-cs"/>
              </a:rPr>
              <a:t>Option 2: Quiet All Inventori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gain, clear the screen and restart the inventory process—</a:t>
            </a:r>
            <a:r>
              <a:rPr lang="en-US" sz="1200" b="1" i="0" kern="1200" dirty="0">
                <a:solidFill>
                  <a:schemeClr val="tx1"/>
                </a:solidFill>
                <a:effectLst/>
                <a:latin typeface="+mn-lt"/>
                <a:ea typeface="+mn-ea"/>
                <a:cs typeface="+mn-cs"/>
              </a:rPr>
              <a:t>but keep it running</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 the inventory screen, check the </a:t>
            </a:r>
            <a:r>
              <a:rPr lang="en-US" sz="1200" b="1" i="0" kern="1200" dirty="0">
                <a:solidFill>
                  <a:schemeClr val="tx1"/>
                </a:solidFill>
                <a:effectLst/>
                <a:latin typeface="+mn-lt"/>
                <a:ea typeface="+mn-ea"/>
                <a:cs typeface="+mn-cs"/>
              </a:rPr>
              <a:t>‘Select All’ box</a:t>
            </a:r>
            <a:r>
              <a:rPr lang="en-US" sz="1200" b="0" i="0" kern="1200" dirty="0">
                <a:solidFill>
                  <a:schemeClr val="tx1"/>
                </a:solidFill>
                <a:effectLst/>
                <a:latin typeface="+mn-lt"/>
                <a:ea typeface="+mn-ea"/>
                <a:cs typeface="+mn-cs"/>
              </a:rPr>
              <a:t> at the top of the tag list.</a:t>
            </a:r>
          </a:p>
          <a:p>
            <a:r>
              <a:rPr lang="en-US" sz="1200" b="0" i="0" kern="1200" dirty="0">
                <a:solidFill>
                  <a:schemeClr val="tx1"/>
                </a:solidFill>
                <a:effectLst/>
                <a:latin typeface="+mn-lt"/>
                <a:ea typeface="+mn-ea"/>
                <a:cs typeface="+mn-cs"/>
              </a:rPr>
              <a:t>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all the tags.</a:t>
            </a:r>
          </a:p>
          <a:p>
            <a:r>
              <a:rPr lang="en-US" sz="1200" b="0" i="0" kern="1200" dirty="0">
                <a:solidFill>
                  <a:schemeClr val="tx1"/>
                </a:solidFill>
                <a:effectLst/>
                <a:latin typeface="+mn-lt"/>
                <a:ea typeface="+mn-ea"/>
                <a:cs typeface="+mn-cs"/>
              </a:rPr>
              <a:t>By default, 31 non-quieted tags are selected every 2 seconds for quieting, and this process will continue until you either press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or the timer runs out.</a:t>
            </a:r>
          </a:p>
          <a:p>
            <a:r>
              <a:rPr lang="en-US" sz="1200" b="0" i="0" kern="1200" dirty="0">
                <a:solidFill>
                  <a:schemeClr val="tx1"/>
                </a:solidFill>
                <a:effectLst/>
                <a:latin typeface="+mn-lt"/>
                <a:ea typeface="+mn-ea"/>
                <a:cs typeface="+mn-cs"/>
              </a:rPr>
              <a:t>If needed, you can set a custom timer to extend this interval beyond 2 seconds.</a:t>
            </a:r>
          </a:p>
          <a:p>
            <a:r>
              <a:rPr lang="en-US" sz="1200" b="0" i="0" kern="1200" dirty="0">
                <a:solidFill>
                  <a:schemeClr val="tx1"/>
                </a:solidFill>
                <a:effectLst/>
                <a:latin typeface="+mn-lt"/>
                <a:ea typeface="+mn-ea"/>
                <a:cs typeface="+mn-cs"/>
              </a:rPr>
              <a:t>This step demonstrates the flexibility of Tag Quieting, whether you need to target specific tags or quiet all tags efficiently. </a:t>
            </a:r>
          </a:p>
          <a:p>
            <a:r>
              <a:rPr lang="en-US" sz="1200" b="0" i="0" kern="1200" dirty="0">
                <a:solidFill>
                  <a:schemeClr val="tx1"/>
                </a:solidFill>
                <a:effectLst/>
                <a:latin typeface="+mn-lt"/>
                <a:ea typeface="+mn-ea"/>
                <a:cs typeface="+mn-cs"/>
              </a:rPr>
              <a:t>Now, let’s observe the results in the next step.</a:t>
            </a:r>
          </a:p>
          <a:p>
            <a:endParaRPr lang="en-US" dirty="0"/>
          </a:p>
        </p:txBody>
      </p:sp>
      <p:sp>
        <p:nvSpPr>
          <p:cNvPr id="4" name="Slide Number Placeholder 3">
            <a:extLst>
              <a:ext uri="{FF2B5EF4-FFF2-40B4-BE49-F238E27FC236}">
                <a16:creationId xmlns:a16="http://schemas.microsoft.com/office/drawing/2014/main" id="{87688BE5-E538-8E29-ECC2-02F6FD6F91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8797132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13DFB-4F34-3653-D5F2-16D025B67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F60F58-B544-8689-B64B-4F5E691C76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DB5A73-7F9D-6091-E688-C8F8C02DD6DA}"/>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look at how to </a:t>
            </a:r>
            <a:r>
              <a:rPr lang="en-US" sz="1200" b="1" i="0" kern="1200" dirty="0">
                <a:solidFill>
                  <a:schemeClr val="tx1"/>
                </a:solidFill>
                <a:effectLst/>
                <a:latin typeface="+mn-lt"/>
                <a:ea typeface="+mn-ea"/>
                <a:cs typeface="+mn-cs"/>
              </a:rPr>
              <a:t>Un-quiet Tags</a:t>
            </a:r>
            <a:r>
              <a:rPr lang="en-US" sz="1200" b="0" i="0" kern="1200" dirty="0">
                <a:solidFill>
                  <a:schemeClr val="tx1"/>
                </a:solidFill>
                <a:effectLst/>
                <a:latin typeface="+mn-lt"/>
                <a:ea typeface="+mn-ea"/>
                <a:cs typeface="+mn-cs"/>
              </a:rPr>
              <a:t> and observe the results.</a:t>
            </a:r>
          </a:p>
          <a:p>
            <a:r>
              <a:rPr lang="en-US" sz="1200" b="1" i="0" kern="1200" dirty="0">
                <a:solidFill>
                  <a:schemeClr val="tx1"/>
                </a:solidFill>
                <a:effectLst/>
                <a:latin typeface="+mn-lt"/>
                <a:ea typeface="+mn-ea"/>
                <a:cs typeface="+mn-cs"/>
              </a:rPr>
              <a:t>Step 4: Un-quiet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the inventory is still running, press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to pause it.</a:t>
            </a:r>
          </a:p>
          <a:p>
            <a:r>
              <a:rPr lang="en-US" sz="1200" b="0" i="0" kern="1200" dirty="0">
                <a:solidFill>
                  <a:schemeClr val="tx1"/>
                </a:solidFill>
                <a:effectLst/>
                <a:latin typeface="+mn-lt"/>
                <a:ea typeface="+mn-ea"/>
                <a:cs typeface="+mn-cs"/>
              </a:rPr>
              <a:t>Select the checkbox next to the tags you want to un-quiet.</a:t>
            </a:r>
          </a:p>
          <a:p>
            <a:r>
              <a:rPr lang="en-US" sz="1200" b="0" i="0" kern="1200" dirty="0">
                <a:solidFill>
                  <a:schemeClr val="tx1"/>
                </a:solidFill>
                <a:effectLst/>
                <a:latin typeface="+mn-lt"/>
                <a:ea typeface="+mn-ea"/>
                <a:cs typeface="+mn-cs"/>
              </a:rPr>
              <a:t>Then, check the </a:t>
            </a:r>
            <a:r>
              <a:rPr lang="en-US" sz="1200" b="1" i="0" kern="1200" dirty="0">
                <a:solidFill>
                  <a:schemeClr val="tx1"/>
                </a:solidFill>
                <a:effectLst/>
                <a:latin typeface="+mn-lt"/>
                <a:ea typeface="+mn-ea"/>
                <a:cs typeface="+mn-cs"/>
              </a:rPr>
              <a:t>‘Un-quiet’ checkbox</a:t>
            </a:r>
            <a:r>
              <a:rPr lang="en-US" sz="1200" b="0" i="0" kern="1200" dirty="0">
                <a:solidFill>
                  <a:schemeClr val="tx1"/>
                </a:solidFill>
                <a:effectLst/>
                <a:latin typeface="+mn-lt"/>
                <a:ea typeface="+mn-ea"/>
                <a:cs typeface="+mn-cs"/>
              </a:rPr>
              <a:t> to restore those tags.</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gain, and you’ll see that all previously quieted tags are now un-quieted. They will change from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back to </a:t>
            </a:r>
            <a:r>
              <a:rPr lang="en-US" sz="1200" b="1" i="0" kern="1200" dirty="0">
                <a:solidFill>
                  <a:schemeClr val="tx1"/>
                </a:solidFill>
                <a:effectLst/>
                <a:latin typeface="+mn-lt"/>
                <a:ea typeface="+mn-ea"/>
                <a:cs typeface="+mn-cs"/>
              </a:rPr>
              <a:t>green or grey</a:t>
            </a:r>
            <a:r>
              <a:rPr lang="en-US" sz="1200" b="0" i="0" kern="1200" dirty="0">
                <a:solidFill>
                  <a:schemeClr val="tx1"/>
                </a:solidFill>
                <a:effectLst/>
                <a:latin typeface="+mn-lt"/>
                <a:ea typeface="+mn-ea"/>
                <a:cs typeface="+mn-cs"/>
              </a:rPr>
              <a:t>, indicating they are active again.</a:t>
            </a:r>
          </a:p>
          <a:p>
            <a:r>
              <a:rPr lang="en-US" sz="1200" b="1" i="0" kern="1200" dirty="0">
                <a:solidFill>
                  <a:schemeClr val="tx1"/>
                </a:solidFill>
                <a:effectLst/>
                <a:latin typeface="+mn-lt"/>
                <a:ea typeface="+mn-ea"/>
                <a:cs typeface="+mn-cs"/>
              </a:rPr>
              <a:t>Step 5: Observe and Compare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uieted tags will appear in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confirming they are silenced.</a:t>
            </a:r>
          </a:p>
          <a:p>
            <a:r>
              <a:rPr lang="en-US" sz="1200" b="0" i="0" kern="1200" dirty="0">
                <a:solidFill>
                  <a:schemeClr val="tx1"/>
                </a:solidFill>
                <a:effectLst/>
                <a:latin typeface="+mn-lt"/>
                <a:ea typeface="+mn-ea"/>
                <a:cs typeface="+mn-cs"/>
              </a:rPr>
              <a:t>Non-quieted tags will continue to be read, and you may notice an </a:t>
            </a:r>
            <a:r>
              <a:rPr lang="en-US" sz="1200" b="1" i="0" kern="1200" dirty="0">
                <a:solidFill>
                  <a:schemeClr val="tx1"/>
                </a:solidFill>
                <a:effectLst/>
                <a:latin typeface="+mn-lt"/>
                <a:ea typeface="+mn-ea"/>
                <a:cs typeface="+mn-cs"/>
              </a:rPr>
              <a:t>increase in counts and reads per second</a:t>
            </a:r>
            <a:r>
              <a:rPr lang="en-US" sz="1200" b="0" i="0" kern="1200" dirty="0">
                <a:solidFill>
                  <a:schemeClr val="tx1"/>
                </a:solidFill>
                <a:effectLst/>
                <a:latin typeface="+mn-lt"/>
                <a:ea typeface="+mn-ea"/>
                <a:cs typeface="+mn-cs"/>
              </a:rPr>
              <a:t> for these tags.</a:t>
            </a:r>
          </a:p>
          <a:p>
            <a:r>
              <a:rPr lang="en-US" sz="1200" b="0" i="0" kern="1200" dirty="0">
                <a:solidFill>
                  <a:schemeClr val="tx1"/>
                </a:solidFill>
                <a:effectLst/>
                <a:latin typeface="+mn-lt"/>
                <a:ea typeface="+mn-ea"/>
                <a:cs typeface="+mn-cs"/>
              </a:rPr>
              <a:t>The impact of Tag Quieting is most noticeable in environments with </a:t>
            </a:r>
            <a:r>
              <a:rPr lang="en-US" sz="1200" b="1" i="0" kern="1200" dirty="0">
                <a:solidFill>
                  <a:schemeClr val="tx1"/>
                </a:solidFill>
                <a:effectLst/>
                <a:latin typeface="+mn-lt"/>
                <a:ea typeface="+mn-ea"/>
                <a:cs typeface="+mn-cs"/>
              </a:rPr>
              <a:t>100 or more tags</a:t>
            </a:r>
            <a:r>
              <a:rPr lang="en-US" sz="1200" b="0" i="0" kern="1200" dirty="0">
                <a:solidFill>
                  <a:schemeClr val="tx1"/>
                </a:solidFill>
                <a:effectLst/>
                <a:latin typeface="+mn-lt"/>
                <a:ea typeface="+mn-ea"/>
                <a:cs typeface="+mn-cs"/>
              </a:rPr>
              <a:t>, where it reduces interference and improves system performance by focusing on relevant tags.</a:t>
            </a:r>
          </a:p>
          <a:p>
            <a:r>
              <a:rPr lang="en-US" sz="1200" b="0" i="0" kern="1200" dirty="0">
                <a:solidFill>
                  <a:schemeClr val="tx1"/>
                </a:solidFill>
                <a:effectLst/>
                <a:latin typeface="+mn-lt"/>
                <a:ea typeface="+mn-ea"/>
                <a:cs typeface="+mn-cs"/>
              </a:rPr>
              <a:t>In smaller-scale environments, the differences may be less pronounced, but it still demonstrates the feature's ability to manage tag reads effectively.</a:t>
            </a:r>
          </a:p>
          <a:p>
            <a:r>
              <a:rPr lang="en-US" sz="1200" b="0" i="0" kern="1200" dirty="0">
                <a:solidFill>
                  <a:schemeClr val="tx1"/>
                </a:solidFill>
                <a:effectLst/>
                <a:latin typeface="+mn-lt"/>
                <a:ea typeface="+mn-ea"/>
                <a:cs typeface="+mn-cs"/>
              </a:rPr>
              <a:t>This concludes the demo for Tag Quieting, showcasing how it enhances performance by reducing redundant data and streamlining tag management.</a:t>
            </a:r>
          </a:p>
          <a:p>
            <a:endParaRPr lang="en-US" dirty="0"/>
          </a:p>
        </p:txBody>
      </p:sp>
      <p:sp>
        <p:nvSpPr>
          <p:cNvPr id="4" name="Slide Number Placeholder 3">
            <a:extLst>
              <a:ext uri="{FF2B5EF4-FFF2-40B4-BE49-F238E27FC236}">
                <a16:creationId xmlns:a16="http://schemas.microsoft.com/office/drawing/2014/main" id="{308B5436-5A96-89DF-7090-2E8D3B0789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6743837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CA93C-CF53-16F4-F905-417210F11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5469F-CF6F-6AB4-F124-A10BB6D974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FE0ADA-CBD4-2F79-2CCF-834394E4E37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pplication provides advanced users with the ability to </a:t>
            </a:r>
            <a:r>
              <a:rPr lang="en-US" sz="1200" b="1" i="0" kern="1200" dirty="0">
                <a:solidFill>
                  <a:schemeClr val="tx1"/>
                </a:solidFill>
                <a:effectLst/>
                <a:latin typeface="+mn-lt"/>
                <a:ea typeface="+mn-ea"/>
                <a:cs typeface="+mn-cs"/>
              </a:rPr>
              <a:t>manage tag quieting filters</a:t>
            </a:r>
            <a:r>
              <a:rPr lang="en-US" sz="1200" b="0" i="0" kern="1200" dirty="0">
                <a:solidFill>
                  <a:schemeClr val="tx1"/>
                </a:solidFill>
                <a:effectLst/>
                <a:latin typeface="+mn-lt"/>
                <a:ea typeface="+mn-ea"/>
                <a:cs typeface="+mn-cs"/>
              </a:rPr>
              <a:t>. While this feature isn’t required for a basic demonstration of Tag Quieting, it can be used to test and experiment with different configurations for more complex use cases.</a:t>
            </a:r>
          </a:p>
          <a:p>
            <a:r>
              <a:rPr lang="en-US" sz="1200" b="0" i="0" kern="1200" dirty="0">
                <a:solidFill>
                  <a:schemeClr val="tx1"/>
                </a:solidFill>
                <a:effectLst/>
                <a:latin typeface="+mn-lt"/>
                <a:ea typeface="+mn-ea"/>
                <a:cs typeface="+mn-cs"/>
              </a:rPr>
              <a:t>If you’d like to dive deeper into the technical details and learn how to configure these advanced settings, please see the </a:t>
            </a:r>
            <a:r>
              <a:rPr lang="en-US" sz="1200" b="1" i="0" kern="1200" dirty="0">
                <a:solidFill>
                  <a:schemeClr val="tx1"/>
                </a:solidFill>
                <a:effectLst/>
                <a:latin typeface="+mn-lt"/>
                <a:ea typeface="+mn-ea"/>
                <a:cs typeface="+mn-cs"/>
              </a:rPr>
              <a:t>Zebra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 for </a:t>
            </a:r>
            <a:r>
              <a:rPr lang="en-US" sz="1200" b="1" i="0" kern="1200" dirty="0">
                <a:solidFill>
                  <a:schemeClr val="tx1"/>
                </a:solidFill>
                <a:effectLst/>
                <a:latin typeface="+mn-lt"/>
                <a:ea typeface="+mn-ea"/>
                <a:cs typeface="+mn-cs"/>
              </a:rPr>
              <a:t>Impinj Gen2X APIs</a:t>
            </a:r>
            <a:r>
              <a:rPr lang="en-US" sz="1200" b="0" i="0" kern="1200">
                <a:solidFill>
                  <a:schemeClr val="tx1"/>
                </a:solidFill>
                <a:effectLst/>
                <a:latin typeface="+mn-lt"/>
                <a:ea typeface="+mn-ea"/>
                <a:cs typeface="+mn-cs"/>
              </a:rPr>
              <a:t>. </a:t>
            </a:r>
            <a:endParaRPr lang="en-US" dirty="0"/>
          </a:p>
        </p:txBody>
      </p:sp>
      <p:sp>
        <p:nvSpPr>
          <p:cNvPr id="4" name="Slide Number Placeholder 3">
            <a:extLst>
              <a:ext uri="{FF2B5EF4-FFF2-40B4-BE49-F238E27FC236}">
                <a16:creationId xmlns:a16="http://schemas.microsoft.com/office/drawing/2014/main" id="{80F282F3-9BE7-CF25-2B6F-21CC185A76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05178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C1A44-A1F9-A6C8-ECD2-516EE643F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A7389-9681-FF6E-F0B6-D3ADD7DDD1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75CC4-909A-BD73-25AC-2D86635373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discuss the </a:t>
            </a:r>
            <a:r>
              <a:rPr lang="en-US" b="1" dirty="0"/>
              <a:t>Gen2X Feature Demo: Protected Mode</a:t>
            </a:r>
            <a:r>
              <a:rPr lang="en-US" dirty="0"/>
              <a:t>, a powerful feature designed to enhance security and control over RFID tag data.</a:t>
            </a:r>
          </a:p>
          <a:p>
            <a:endParaRPr lang="en-US" dirty="0"/>
          </a:p>
        </p:txBody>
      </p:sp>
      <p:sp>
        <p:nvSpPr>
          <p:cNvPr id="4" name="Slide Number Placeholder 3">
            <a:extLst>
              <a:ext uri="{FF2B5EF4-FFF2-40B4-BE49-F238E27FC236}">
                <a16:creationId xmlns:a16="http://schemas.microsoft.com/office/drawing/2014/main" id="{66A01253-4C87-9F13-35B7-B9BC44C935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994074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70B24-6296-529F-4535-C04416E6D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12267F-937C-7CE3-6EC8-F53FC78AF1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4B7826-F55D-903A-D57D-9DC7F5517285}"/>
              </a:ext>
            </a:extLst>
          </p:cNvPr>
          <p:cNvSpPr>
            <a:spLocks noGrp="1"/>
          </p:cNvSpPr>
          <p:nvPr>
            <p:ph type="body" idx="1"/>
          </p:nvPr>
        </p:nvSpPr>
        <p:spPr/>
        <p:txBody>
          <a:bodyPr/>
          <a:lstStyle/>
          <a:p>
            <a:r>
              <a:rPr lang="en-US" b="1" dirty="0"/>
              <a:t>What is Protected Mode?</a:t>
            </a:r>
            <a:br>
              <a:rPr lang="en-US" dirty="0"/>
            </a:br>
            <a:r>
              <a:rPr lang="en-US" dirty="0"/>
              <a:t>Protected Mode is a feature that hides a tag from RFID readers unless the correct </a:t>
            </a:r>
            <a:r>
              <a:rPr lang="en-US" b="1" dirty="0"/>
              <a:t>32-bit PIN or password</a:t>
            </a:r>
            <a:r>
              <a:rPr lang="en-US" dirty="0"/>
              <a:t> is provided. While protected, tags remain invisible to unauthorized readers but can still be inventoried by readers that supply the correct credentials. Users can easily toggle a tag’s status between </a:t>
            </a:r>
            <a:r>
              <a:rPr lang="en-US" b="1" dirty="0"/>
              <a:t>protected</a:t>
            </a:r>
            <a:r>
              <a:rPr lang="en-US" dirty="0"/>
              <a:t> and </a:t>
            </a:r>
            <a:r>
              <a:rPr lang="en-US" b="1" dirty="0"/>
              <a:t>unprotected</a:t>
            </a:r>
            <a:r>
              <a:rPr lang="en-US" dirty="0"/>
              <a:t> as needed.</a:t>
            </a:r>
          </a:p>
          <a:p>
            <a:r>
              <a:rPr lang="en-US" b="1" dirty="0"/>
              <a:t>When to Use Protected Mode?</a:t>
            </a:r>
            <a:br>
              <a:rPr lang="en-US" dirty="0"/>
            </a:br>
            <a:r>
              <a:rPr lang="en-US" dirty="0"/>
              <a:t>Protected Mode is ideal for scenarios where controlling access to RFID tag data is critical. It’s particularly useful in applications such as: </a:t>
            </a:r>
          </a:p>
          <a:p>
            <a:r>
              <a:rPr lang="en-US" b="1" dirty="0"/>
              <a:t>Protecting sensitive data</a:t>
            </a:r>
            <a:r>
              <a:rPr lang="en-US" dirty="0"/>
              <a:t>, like personal or business information stored on tags. </a:t>
            </a:r>
          </a:p>
          <a:p>
            <a:r>
              <a:rPr lang="en-US" b="1" dirty="0"/>
              <a:t>Preventing unauthorized tracking</a:t>
            </a:r>
            <a:r>
              <a:rPr lang="en-US" dirty="0"/>
              <a:t> of tags in public or unsecured environments. </a:t>
            </a:r>
          </a:p>
          <a:p>
            <a:r>
              <a:rPr lang="en-US" b="1" dirty="0"/>
              <a:t>Enhancing privacy</a:t>
            </a:r>
            <a:r>
              <a:rPr lang="en-US" dirty="0"/>
              <a:t> for individuals or assets. </a:t>
            </a:r>
          </a:p>
          <a:p>
            <a:r>
              <a:rPr lang="en-US" b="1" dirty="0"/>
              <a:t>Verifying authenticity</a:t>
            </a:r>
            <a:r>
              <a:rPr lang="en-US" dirty="0"/>
              <a:t> to combat counterfeiting in industries like retail or pharmaceuticals. </a:t>
            </a:r>
          </a:p>
          <a:p>
            <a:r>
              <a:rPr lang="en-US" b="1" dirty="0"/>
              <a:t>Securing access control</a:t>
            </a:r>
            <a:r>
              <a:rPr lang="en-US" dirty="0"/>
              <a:t>, such as for RFID-enabled badges or credentials. </a:t>
            </a:r>
          </a:p>
          <a:p>
            <a:r>
              <a:rPr lang="en-US" b="1" dirty="0"/>
              <a:t>Streamlining workflows</a:t>
            </a:r>
            <a:r>
              <a:rPr lang="en-US" dirty="0"/>
              <a:t> in controlled environments where specific tags need restricted visibility.</a:t>
            </a:r>
          </a:p>
          <a:p>
            <a:r>
              <a:rPr lang="en-US" dirty="0"/>
              <a:t>Protected Mode is an essential tool for enhancing security, ensuring privacy, and maintaining operational efficiency in a variety of RFID </a:t>
            </a:r>
            <a:r>
              <a:rPr lang="en-US"/>
              <a:t>applications.</a:t>
            </a:r>
            <a:endParaRPr lang="en-US" dirty="0"/>
          </a:p>
          <a:p>
            <a:endParaRPr lang="en-US" dirty="0"/>
          </a:p>
        </p:txBody>
      </p:sp>
      <p:sp>
        <p:nvSpPr>
          <p:cNvPr id="4" name="Slide Number Placeholder 3">
            <a:extLst>
              <a:ext uri="{FF2B5EF4-FFF2-40B4-BE49-F238E27FC236}">
                <a16:creationId xmlns:a16="http://schemas.microsoft.com/office/drawing/2014/main" id="{29A00868-2238-F723-9930-E32A030058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613786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1C256-397F-926B-8B03-36721E9F07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BADC55-0B0C-72A6-AE89-4B57504FC8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2BED5-AE2C-5553-C9FC-618DC6A1F07B}"/>
              </a:ext>
            </a:extLst>
          </p:cNvPr>
          <p:cNvSpPr>
            <a:spLocks noGrp="1"/>
          </p:cNvSpPr>
          <p:nvPr>
            <p:ph type="body" idx="1"/>
          </p:nvPr>
        </p:nvSpPr>
        <p:spPr/>
        <p:txBody>
          <a:bodyPr/>
          <a:lstStyle/>
          <a:p>
            <a:r>
              <a:rPr lang="en-US" dirty="0"/>
              <a:t>This latest release is packed with powerful features that enhance the functionality, security, and efficiency of Zebra’s RFID solutions. Let’s dive into what’s new and how these features can transform your operations.</a:t>
            </a:r>
          </a:p>
          <a:p>
            <a:r>
              <a:rPr lang="en-US" dirty="0"/>
              <a:t>First, let’s talk about </a:t>
            </a:r>
            <a:r>
              <a:rPr lang="en-US" b="1" dirty="0"/>
              <a:t>Protected Mode</a:t>
            </a:r>
            <a:r>
              <a:rPr lang="en-US" dirty="0"/>
              <a:t>. </a:t>
            </a:r>
          </a:p>
          <a:p>
            <a:r>
              <a:rPr lang="en-US" dirty="0"/>
              <a:t>This is a groundbreaking feature, powered by Impinj, that enhances the </a:t>
            </a:r>
            <a:r>
              <a:rPr lang="en-US" b="1" dirty="0"/>
              <a:t>security and privacy</a:t>
            </a:r>
            <a:r>
              <a:rPr lang="en-US" dirty="0"/>
              <a:t> of RAIN RFID (UHF) tags. With Protected Mode, businesses can ensure that their tags are only readable by </a:t>
            </a:r>
            <a:r>
              <a:rPr lang="en-US" b="1" dirty="0"/>
              <a:t>trusted readers</a:t>
            </a:r>
            <a:r>
              <a:rPr lang="en-US" dirty="0"/>
              <a:t> that have the correct access credentials. This means unauthorized tracking or data access is prevented, giving you greater control over your RFID ecosystem and protecting sensitive information from prying eyes.</a:t>
            </a:r>
          </a:p>
          <a:p>
            <a:endParaRPr lang="en-US" dirty="0"/>
          </a:p>
          <a:p>
            <a:r>
              <a:rPr lang="en-US" dirty="0"/>
              <a:t>Next, we have </a:t>
            </a:r>
            <a:r>
              <a:rPr lang="en-US" b="1" dirty="0" err="1"/>
              <a:t>TagFocus</a:t>
            </a:r>
            <a:r>
              <a:rPr lang="en-US" dirty="0"/>
              <a:t>. </a:t>
            </a:r>
          </a:p>
          <a:p>
            <a:r>
              <a:rPr lang="en-US" dirty="0"/>
              <a:t>This feature is all about </a:t>
            </a:r>
            <a:r>
              <a:rPr lang="en-US" b="1" dirty="0"/>
              <a:t>efficiency</a:t>
            </a:r>
            <a:r>
              <a:rPr lang="en-US" dirty="0"/>
              <a:t>. In environments where there are large numbers of tags, it’s common for readers to repeatedly scan the same tags. </a:t>
            </a:r>
            <a:r>
              <a:rPr lang="en-US" dirty="0" err="1"/>
              <a:t>TagFocus</a:t>
            </a:r>
            <a:r>
              <a:rPr lang="en-US" dirty="0"/>
              <a:t> solves this by suppressing all previously read tags, enabling the reader to concentrate solely on </a:t>
            </a:r>
            <a:r>
              <a:rPr lang="en-US" b="1" dirty="0"/>
              <a:t>unread tags</a:t>
            </a:r>
            <a:r>
              <a:rPr lang="en-US" dirty="0"/>
              <a:t>. This significantly reduces redundancy, improves scanning speed, and ensures your data collection is as accurate and efficient as possible.</a:t>
            </a:r>
          </a:p>
          <a:p>
            <a:endParaRPr lang="en-US" b="1" dirty="0"/>
          </a:p>
          <a:p>
            <a:r>
              <a:rPr lang="en-US" dirty="0"/>
              <a:t>Finally let’s look at </a:t>
            </a:r>
            <a:r>
              <a:rPr lang="en-US" b="1" dirty="0"/>
              <a:t>Tag Quieting</a:t>
            </a:r>
            <a:r>
              <a:rPr lang="en-US" dirty="0"/>
              <a:t>. </a:t>
            </a:r>
          </a:p>
          <a:p>
            <a:r>
              <a:rPr lang="en-US" dirty="0"/>
              <a:t>This feature is designed to reduce </a:t>
            </a:r>
            <a:r>
              <a:rPr lang="en-US" b="1" dirty="0"/>
              <a:t>tag congestion</a:t>
            </a:r>
            <a:r>
              <a:rPr lang="en-US" dirty="0"/>
              <a:t> during inventory scans. By explicitly muting selected tags, Tag Quieting ensures that these tags remain silent until they are reactivated. This allows readers to focus on the tags that matter most at any given time, improving read performance and making your RFID system more streamlined and effective.</a:t>
            </a:r>
          </a:p>
          <a:p>
            <a:r>
              <a:rPr lang="en-US" dirty="0"/>
              <a:t>These advanced Gen2X features—</a:t>
            </a:r>
            <a:r>
              <a:rPr lang="en-US" b="1" dirty="0"/>
              <a:t>Protected Mode</a:t>
            </a:r>
            <a:r>
              <a:rPr lang="en-US" dirty="0"/>
              <a:t>, </a:t>
            </a:r>
            <a:r>
              <a:rPr lang="en-US" b="1" dirty="0" err="1"/>
              <a:t>TagFocus</a:t>
            </a:r>
            <a:r>
              <a:rPr lang="en-US" dirty="0"/>
              <a:t>, and </a:t>
            </a:r>
            <a:r>
              <a:rPr lang="en-US" b="1" dirty="0"/>
              <a:t>Tag Quieting</a:t>
            </a:r>
            <a:r>
              <a:rPr lang="en-US" dirty="0"/>
              <a:t>—are supported across a range of Zebra RFID devices, including:</a:t>
            </a:r>
          </a:p>
          <a:p>
            <a:r>
              <a:rPr lang="en-US" b="1" dirty="0"/>
              <a:t>RFD40</a:t>
            </a:r>
            <a:endParaRPr lang="en-US" dirty="0"/>
          </a:p>
          <a:p>
            <a:r>
              <a:rPr lang="en-US" b="1" dirty="0"/>
              <a:t>RFD90</a:t>
            </a:r>
            <a:endParaRPr lang="en-US" dirty="0"/>
          </a:p>
          <a:p>
            <a:r>
              <a:rPr lang="en-US" b="1" dirty="0"/>
              <a:t>EM45</a:t>
            </a:r>
            <a:endParaRPr lang="en-US" dirty="0"/>
          </a:p>
          <a:p>
            <a:r>
              <a:rPr lang="en-US" b="1" dirty="0"/>
              <a:t>TC53e-RFID</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FF461CC-EF77-0646-1581-6D7212D6E2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16663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50F8B-7CF3-709D-2B16-AC5F5FBA57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99A82-C416-7F9E-4C4B-B62CFB4C7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CA13A-61A6-67B5-54E1-453BAEC85A4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ow to Demo Protected Mod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Setup Gen2X Enabled Tags</a:t>
            </a:r>
            <a:r>
              <a:rPr lang="en-US" sz="1200" b="0" i="0" kern="1200" dirty="0">
                <a:solidFill>
                  <a:schemeClr val="tx1"/>
                </a:solidFill>
                <a:effectLst/>
                <a:latin typeface="+mn-lt"/>
                <a:ea typeface="+mn-ea"/>
                <a:cs typeface="+mn-cs"/>
              </a:rPr>
              <a:t>: Start by arranging your tags for the demo.</a:t>
            </a:r>
          </a:p>
          <a:p>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 Run a standard inventory to establish a baseline where all tags are visible.</a:t>
            </a:r>
          </a:p>
          <a:p>
            <a:r>
              <a:rPr lang="en-US" sz="1200" b="1" i="0" kern="1200" dirty="0">
                <a:solidFill>
                  <a:schemeClr val="tx1"/>
                </a:solidFill>
                <a:effectLst/>
                <a:latin typeface="+mn-lt"/>
                <a:ea typeface="+mn-ea"/>
                <a:cs typeface="+mn-cs"/>
              </a:rPr>
              <a:t>Protect Selected Tags</a:t>
            </a:r>
            <a:r>
              <a:rPr lang="en-US" sz="1200" b="0" i="0" kern="1200" dirty="0">
                <a:solidFill>
                  <a:schemeClr val="tx1"/>
                </a:solidFill>
                <a:effectLst/>
                <a:latin typeface="+mn-lt"/>
                <a:ea typeface="+mn-ea"/>
                <a:cs typeface="+mn-cs"/>
              </a:rPr>
              <a:t>: Select specific tags and apply </a:t>
            </a:r>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to secure them with a PIN or password.</a:t>
            </a:r>
          </a:p>
          <a:p>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 Run inventory again, and you’ll notice that the protected tags are now </a:t>
            </a:r>
            <a:r>
              <a:rPr lang="en-US" sz="1200" b="1" i="0" kern="1200" dirty="0">
                <a:solidFill>
                  <a:schemeClr val="tx1"/>
                </a:solidFill>
                <a:effectLst/>
                <a:latin typeface="+mn-lt"/>
                <a:ea typeface="+mn-ea"/>
                <a:cs typeface="+mn-cs"/>
              </a:rPr>
              <a:t>in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Inventory with Protected Tags Visible</a:t>
            </a:r>
            <a:r>
              <a:rPr lang="en-US" sz="1200" b="0" i="0" kern="1200" dirty="0">
                <a:solidFill>
                  <a:schemeClr val="tx1"/>
                </a:solidFill>
                <a:effectLst/>
                <a:latin typeface="+mn-lt"/>
                <a:ea typeface="+mn-ea"/>
                <a:cs typeface="+mn-cs"/>
              </a:rPr>
              <a:t>: Use the correct PIN or password during inventory, and the previously invisible tags will now become </a:t>
            </a:r>
            <a:r>
              <a:rPr lang="en-US" sz="1200" b="1" i="0" kern="1200" dirty="0">
                <a:solidFill>
                  <a:schemeClr val="tx1"/>
                </a:solidFill>
                <a:effectLst/>
                <a:latin typeface="+mn-lt"/>
                <a:ea typeface="+mn-ea"/>
                <a:cs typeface="+mn-cs"/>
              </a:rPr>
              <a:t>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Clear Protected Tag Configuration</a:t>
            </a:r>
            <a:r>
              <a:rPr lang="en-US" sz="1200" b="0" i="0" kern="1200" dirty="0">
                <a:solidFill>
                  <a:schemeClr val="tx1"/>
                </a:solidFill>
                <a:effectLst/>
                <a:latin typeface="+mn-lt"/>
                <a:ea typeface="+mn-ea"/>
                <a:cs typeface="+mn-cs"/>
              </a:rPr>
              <a:t>: Reset the reader by clearing Protected Mode configuration.</a:t>
            </a:r>
          </a:p>
          <a:p>
            <a:r>
              <a:rPr lang="en-US" sz="1200" b="1" i="0" kern="1200" dirty="0">
                <a:solidFill>
                  <a:schemeClr val="tx1"/>
                </a:solidFill>
                <a:effectLst/>
                <a:latin typeface="+mn-lt"/>
                <a:ea typeface="+mn-ea"/>
                <a:cs typeface="+mn-cs"/>
              </a:rPr>
              <a:t>Unprotect Tags</a:t>
            </a:r>
            <a:r>
              <a:rPr lang="en-US" sz="1200" b="0" i="0" kern="1200" dirty="0">
                <a:solidFill>
                  <a:schemeClr val="tx1"/>
                </a:solidFill>
                <a:effectLst/>
                <a:latin typeface="+mn-lt"/>
                <a:ea typeface="+mn-ea"/>
                <a:cs typeface="+mn-cs"/>
              </a:rPr>
              <a:t>: Finally, unprotect the tags to restore them to standard visibility.</a:t>
            </a:r>
          </a:p>
          <a:p>
            <a:r>
              <a:rPr lang="en-US" sz="1200" b="1" i="0" kern="1200" dirty="0">
                <a:solidFill>
                  <a:schemeClr val="tx1"/>
                </a:solidFill>
                <a:effectLst/>
                <a:latin typeface="+mn-lt"/>
                <a:ea typeface="+mn-ea"/>
                <a:cs typeface="+mn-cs"/>
              </a:rPr>
              <a:t>Expected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nce tags are protected, they will not appear in standard inventory rounds, demonstrating their invisibility.</a:t>
            </a:r>
          </a:p>
          <a:p>
            <a:r>
              <a:rPr lang="en-US" sz="1200" b="0" i="0" kern="1200" dirty="0">
                <a:solidFill>
                  <a:schemeClr val="tx1"/>
                </a:solidFill>
                <a:effectLst/>
                <a:latin typeface="+mn-lt"/>
                <a:ea typeface="+mn-ea"/>
                <a:cs typeface="+mn-cs"/>
              </a:rPr>
              <a:t>Protected tags become visible when the correct PIN or password is used, showing how secure access can be controlled.</a:t>
            </a:r>
          </a:p>
          <a:p>
            <a:r>
              <a:rPr lang="en-US" sz="1200" b="0" i="0" kern="1200" dirty="0">
                <a:solidFill>
                  <a:schemeClr val="tx1"/>
                </a:solidFill>
                <a:effectLst/>
                <a:latin typeface="+mn-lt"/>
                <a:ea typeface="+mn-ea"/>
                <a:cs typeface="+mn-cs"/>
              </a:rPr>
              <a:t>Tags can be seamlessly protected and unprotected multiple times, giving you flexibility for various applications.</a:t>
            </a:r>
          </a:p>
          <a:p>
            <a:endParaRPr lang="en-US" dirty="0"/>
          </a:p>
        </p:txBody>
      </p:sp>
      <p:sp>
        <p:nvSpPr>
          <p:cNvPr id="4" name="Slide Number Placeholder 3">
            <a:extLst>
              <a:ext uri="{FF2B5EF4-FFF2-40B4-BE49-F238E27FC236}">
                <a16:creationId xmlns:a16="http://schemas.microsoft.com/office/drawing/2014/main" id="{1A844F23-6B8E-2D11-C0F4-248CE74159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768363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DF9ED-8987-9F9E-A1AB-E4749B3AF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D3CC1-17E9-7847-213E-7D8B2CD331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6D0730-CE8F-700E-3049-1FEA07E0D749}"/>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Let’s begin the first steps of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by setting up the tags and running an inventory without any tags being protected.</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Make sure none of the tags have been previously protected with Protected Mode to ensure a clean setup.</a:t>
            </a:r>
          </a:p>
          <a:p>
            <a:r>
              <a:rPr lang="en-US" sz="1200" b="1" i="0" kern="1200" dirty="0">
                <a:solidFill>
                  <a:schemeClr val="tx1"/>
                </a:solidFill>
                <a:effectLst/>
                <a:latin typeface="+mn-lt"/>
                <a:ea typeface="+mn-ea"/>
                <a:cs typeface="+mn-cs"/>
              </a:rPr>
              <a:t>Step 2: Inventory Without Prot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En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in the field of view are read.</a:t>
            </a:r>
          </a:p>
          <a:p>
            <a:r>
              <a:rPr lang="en-US" sz="1200" b="0" i="0" kern="1200" dirty="0">
                <a:solidFill>
                  <a:schemeClr val="tx1"/>
                </a:solidFill>
                <a:effectLst/>
                <a:latin typeface="+mn-lt"/>
                <a:ea typeface="+mn-ea"/>
                <a:cs typeface="+mn-cs"/>
              </a:rPr>
              <a:t>Once done,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 to ensure all tags in the field of view are displayed.</a:t>
            </a:r>
          </a:p>
          <a:p>
            <a:r>
              <a:rPr lang="en-US" sz="1200" b="0" i="0" kern="1200" dirty="0">
                <a:solidFill>
                  <a:schemeClr val="tx1"/>
                </a:solidFill>
                <a:effectLst/>
                <a:latin typeface="+mn-lt"/>
                <a:ea typeface="+mn-ea"/>
                <a:cs typeface="+mn-cs"/>
              </a:rPr>
              <a:t>This step establishes a baseline inventory where all tags are visible, which will help us compare the results once Protected Mode is applied. Now, let’s move on to the next steps to protect the tags.</a:t>
            </a:r>
          </a:p>
          <a:p>
            <a:endParaRPr lang="en-US" dirty="0"/>
          </a:p>
        </p:txBody>
      </p:sp>
      <p:sp>
        <p:nvSpPr>
          <p:cNvPr id="4" name="Slide Number Placeholder 3">
            <a:extLst>
              <a:ext uri="{FF2B5EF4-FFF2-40B4-BE49-F238E27FC236}">
                <a16:creationId xmlns:a16="http://schemas.microsoft.com/office/drawing/2014/main" id="{36CDF843-CC3C-231A-1D00-918849F60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1069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9098E-74CA-E251-ACD4-5ED16C377D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1041B6-E9CC-0581-D2D1-53229607E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A7062E-1D08-6DDD-CD58-FBEF1B015EA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step in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protecting selected tags.</a:t>
            </a:r>
          </a:p>
          <a:p>
            <a:r>
              <a:rPr lang="en-US" sz="1200" b="1" i="0" kern="1200" dirty="0">
                <a:solidFill>
                  <a:schemeClr val="tx1"/>
                </a:solidFill>
                <a:effectLst/>
                <a:latin typeface="+mn-lt"/>
                <a:ea typeface="+mn-ea"/>
                <a:cs typeface="+mn-cs"/>
              </a:rPr>
              <a:t>Step 3: 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irst, navigate to the </a:t>
            </a:r>
            <a:r>
              <a:rPr lang="en-US" sz="1200" b="1" i="0" kern="1200" dirty="0">
                <a:solidFill>
                  <a:schemeClr val="tx1"/>
                </a:solidFill>
                <a:effectLst/>
                <a:latin typeface="+mn-lt"/>
                <a:ea typeface="+mn-ea"/>
                <a:cs typeface="+mn-cs"/>
              </a:rPr>
              <a:t>Protected Mode page</a:t>
            </a:r>
            <a:r>
              <a:rPr lang="en-US" sz="1200" b="0" i="0" kern="1200" dirty="0">
                <a:solidFill>
                  <a:schemeClr val="tx1"/>
                </a:solidFill>
                <a:effectLst/>
                <a:latin typeface="+mn-lt"/>
                <a:ea typeface="+mn-ea"/>
                <a:cs typeface="+mn-cs"/>
              </a:rPr>
              <a:t> from the app’s navigation menu.</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for the tag you want to protect. The application will auto-complete this field based on the tags you previously inventoried, making it quick and easy.</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Mode</a:t>
            </a:r>
            <a:r>
              <a:rPr lang="en-US" sz="1200" b="0" i="0" kern="1200" dirty="0">
                <a:solidFill>
                  <a:schemeClr val="tx1"/>
                </a:solidFill>
                <a:effectLst/>
                <a:latin typeface="+mn-lt"/>
                <a:ea typeface="+mn-ea"/>
                <a:cs typeface="+mn-cs"/>
              </a:rPr>
              <a:t> as </a:t>
            </a:r>
            <a:r>
              <a:rPr lang="en-US" sz="1200" b="1" i="0" kern="1200" dirty="0">
                <a:solidFill>
                  <a:schemeClr val="tx1"/>
                </a:solidFill>
                <a:effectLst/>
                <a:latin typeface="+mn-lt"/>
                <a:ea typeface="+mn-ea"/>
                <a:cs typeface="+mn-cs"/>
              </a:rPr>
              <a:t>Protect</a:t>
            </a:r>
            <a:r>
              <a:rPr lang="en-US" sz="1200" b="0" i="0" kern="1200" dirty="0">
                <a:solidFill>
                  <a:schemeClr val="tx1"/>
                </a:solidFill>
                <a:effectLst/>
                <a:latin typeface="+mn-lt"/>
                <a:ea typeface="+mn-ea"/>
                <a:cs typeface="+mn-cs"/>
              </a:rPr>
              <a:t> to enable Protected Mode for the tag.</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you’ll use to secure the tag.</a:t>
            </a:r>
          </a:p>
          <a:p>
            <a:r>
              <a:rPr lang="en-US" sz="1200" b="0" i="0" kern="1200" dirty="0">
                <a:solidFill>
                  <a:schemeClr val="tx1"/>
                </a:solidFill>
                <a:effectLst/>
                <a:latin typeface="+mn-lt"/>
                <a:ea typeface="+mn-ea"/>
                <a:cs typeface="+mn-cs"/>
              </a:rPr>
              <a:t>Finally, click the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button to apply Protected Mode.</a:t>
            </a:r>
          </a:p>
          <a:p>
            <a:r>
              <a:rPr lang="en-US" sz="1200" b="0" i="0" kern="1200" dirty="0">
                <a:solidFill>
                  <a:schemeClr val="tx1"/>
                </a:solidFill>
                <a:effectLst/>
                <a:latin typeface="+mn-lt"/>
                <a:ea typeface="+mn-ea"/>
                <a:cs typeface="+mn-cs"/>
              </a:rPr>
              <a:t>Once the operation is complete, you’ll see a </a:t>
            </a:r>
            <a:r>
              <a:rPr lang="en-US" sz="1200" b="1" i="0" kern="1200" dirty="0">
                <a:solidFill>
                  <a:schemeClr val="tx1"/>
                </a:solidFill>
                <a:effectLst/>
                <a:latin typeface="+mn-lt"/>
                <a:ea typeface="+mn-ea"/>
                <a:cs typeface="+mn-cs"/>
              </a:rPr>
              <a:t>Protect Success</a:t>
            </a:r>
            <a:r>
              <a:rPr lang="en-US" sz="1200" b="0" i="0" kern="1200" dirty="0">
                <a:solidFill>
                  <a:schemeClr val="tx1"/>
                </a:solidFill>
                <a:effectLst/>
                <a:latin typeface="+mn-lt"/>
                <a:ea typeface="+mn-ea"/>
                <a:cs typeface="+mn-cs"/>
              </a:rPr>
              <a:t> message confirming that the tag has been successfully protected.</a:t>
            </a:r>
          </a:p>
          <a:p>
            <a:r>
              <a:rPr lang="en-US" sz="1200" b="0" i="0" kern="1200" dirty="0">
                <a:solidFill>
                  <a:schemeClr val="tx1"/>
                </a:solidFill>
                <a:effectLst/>
                <a:latin typeface="+mn-lt"/>
                <a:ea typeface="+mn-ea"/>
                <a:cs typeface="+mn-cs"/>
              </a:rPr>
              <a:t>This step demonstrates how easy it is to secure tags with a PIN, ensuring they’re protected and inaccessible during standard inventory rounds. Next, we’ll test the invisibility of these protected tags.</a:t>
            </a:r>
          </a:p>
          <a:p>
            <a:endParaRPr lang="en-US" dirty="0"/>
          </a:p>
        </p:txBody>
      </p:sp>
      <p:sp>
        <p:nvSpPr>
          <p:cNvPr id="4" name="Slide Number Placeholder 3">
            <a:extLst>
              <a:ext uri="{FF2B5EF4-FFF2-40B4-BE49-F238E27FC236}">
                <a16:creationId xmlns:a16="http://schemas.microsoft.com/office/drawing/2014/main" id="{D07A2D6F-DF28-5D8C-8EA4-C374E07063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40107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7E420-8874-19FD-2ECA-FFA4BAA433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CB451-CFF6-BCD6-393F-1C36B9E26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BA7821-CB8A-D460-64EA-8F996FB35CD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test the invisibility of protected tags by running an inventory without providing the PIN or password.</a:t>
            </a:r>
          </a:p>
          <a:p>
            <a:r>
              <a:rPr lang="en-US" sz="1200" b="1" i="0" kern="1200" dirty="0">
                <a:solidFill>
                  <a:schemeClr val="tx1"/>
                </a:solidFill>
                <a:effectLst/>
                <a:latin typeface="+mn-lt"/>
                <a:ea typeface="+mn-ea"/>
                <a:cs typeface="+mn-cs"/>
              </a:rPr>
              <a:t>Step 4: Inventory with Protected Tags In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this time, you’ll see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a:p>
            <a:r>
              <a:rPr lang="en-US" sz="1200" b="0" i="0" kern="1200" dirty="0">
                <a:solidFill>
                  <a:schemeClr val="tx1"/>
                </a:solidFill>
                <a:effectLst/>
                <a:latin typeface="+mn-lt"/>
                <a:ea typeface="+mn-ea"/>
                <a:cs typeface="+mn-cs"/>
              </a:rPr>
              <a:t>This step demonstrates how Protected Mode ensures that secured tags remain invisible to readers that do not have the correct PIN or password, providing a strong layer of security for sensitive tag data. Next, we’ll see how to make these protected tags visible again by using the correct PIN.</a:t>
            </a:r>
          </a:p>
          <a:p>
            <a:endParaRPr lang="en-US" dirty="0"/>
          </a:p>
        </p:txBody>
      </p:sp>
      <p:sp>
        <p:nvSpPr>
          <p:cNvPr id="4" name="Slide Number Placeholder 3">
            <a:extLst>
              <a:ext uri="{FF2B5EF4-FFF2-40B4-BE49-F238E27FC236}">
                <a16:creationId xmlns:a16="http://schemas.microsoft.com/office/drawing/2014/main" id="{E94CFA78-A882-83B9-D1FE-0D1D7FD2F8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2384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864A4-9C3A-0177-DA0E-4C8453D65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E40629-A535-179E-A5CE-0E424E34FD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D122C-B173-8CF0-9658-ED3262D9301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demonstrate how protected tags become visible when the correct PIN or password is used during inventory.</a:t>
            </a:r>
          </a:p>
          <a:p>
            <a:r>
              <a:rPr lang="en-US" sz="1200" b="1" i="0" kern="1200" dirty="0">
                <a:solidFill>
                  <a:schemeClr val="tx1"/>
                </a:solidFill>
                <a:effectLst/>
                <a:latin typeface="+mn-lt"/>
                <a:ea typeface="+mn-ea"/>
                <a:cs typeface="+mn-cs"/>
              </a:rPr>
              <a:t>Step 5: Inventory with Protected Tags 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o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the option to </a:t>
            </a:r>
            <a:r>
              <a:rPr lang="en-US" sz="1200" b="1" i="0" kern="1200" dirty="0">
                <a:solidFill>
                  <a:schemeClr val="tx1"/>
                </a:solidFill>
                <a:effectLst/>
                <a:latin typeface="+mn-lt"/>
                <a:ea typeface="+mn-ea"/>
                <a:cs typeface="+mn-cs"/>
              </a:rPr>
              <a:t>Enable Inventory of Protected Tag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a </a:t>
            </a:r>
            <a:r>
              <a:rPr lang="en-US" sz="1200" b="1" i="0" kern="1200" dirty="0">
                <a:solidFill>
                  <a:schemeClr val="tx1"/>
                </a:solidFill>
                <a:effectLst/>
                <a:latin typeface="+mn-lt"/>
                <a:ea typeface="+mn-ea"/>
                <a:cs typeface="+mn-cs"/>
              </a:rPr>
              <a:t>Enable Visibility Success</a:t>
            </a:r>
            <a:r>
              <a:rPr lang="en-US" sz="1200" b="0" i="0" kern="1200" dirty="0">
                <a:solidFill>
                  <a:schemeClr val="tx1"/>
                </a:solidFill>
                <a:effectLst/>
                <a:latin typeface="+mn-lt"/>
                <a:ea typeface="+mn-ea"/>
                <a:cs typeface="+mn-cs"/>
              </a:rPr>
              <a:t> message will confirm that the protected tags are now accessible.</a:t>
            </a:r>
          </a:p>
          <a:p>
            <a:r>
              <a:rPr lang="en-US" sz="1200" b="0" i="0" kern="1200" dirty="0">
                <a:solidFill>
                  <a:schemeClr val="tx1"/>
                </a:solidFill>
                <a:effectLst/>
                <a:latin typeface="+mn-lt"/>
                <a:ea typeface="+mn-ea"/>
                <a:cs typeface="+mn-cs"/>
              </a:rPr>
              <a:t>Return to the </a:t>
            </a:r>
            <a:r>
              <a:rPr lang="en-US" sz="1200" b="1" i="0" kern="1200" dirty="0">
                <a:solidFill>
                  <a:schemeClr val="tx1"/>
                </a:solidFill>
                <a:effectLst/>
                <a:latin typeface="+mn-lt"/>
                <a:ea typeface="+mn-ea"/>
                <a:cs typeface="+mn-cs"/>
              </a:rPr>
              <a:t>Inventory screen</a:t>
            </a:r>
            <a:r>
              <a:rPr lang="en-US" sz="1200" b="0" i="0" kern="1200" dirty="0">
                <a:solidFill>
                  <a:schemeClr val="tx1"/>
                </a:solidFill>
                <a:effectLst/>
                <a:latin typeface="+mn-lt"/>
                <a:ea typeface="+mn-ea"/>
                <a:cs typeface="+mn-cs"/>
              </a:rPr>
              <a:t>, clear the inventory, and start fresh.</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nd let it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you’ll now see that </a:t>
            </a:r>
            <a:r>
              <a:rPr lang="en-US" sz="1200" b="1" i="0" kern="1200" dirty="0">
                <a:solidFill>
                  <a:schemeClr val="tx1"/>
                </a:solidFill>
                <a:effectLst/>
                <a:latin typeface="+mn-lt"/>
                <a:ea typeface="+mn-ea"/>
                <a:cs typeface="+mn-cs"/>
              </a:rPr>
              <a:t>all tags</a:t>
            </a:r>
            <a:r>
              <a:rPr lang="en-US" sz="1200" b="0" i="0" kern="1200" dirty="0">
                <a:solidFill>
                  <a:schemeClr val="tx1"/>
                </a:solidFill>
                <a:effectLst/>
                <a:latin typeface="+mn-lt"/>
                <a:ea typeface="+mn-ea"/>
                <a:cs typeface="+mn-cs"/>
              </a:rPr>
              <a:t>, both protected and unprotected, are inventoried and displayed in the list.</a:t>
            </a:r>
          </a:p>
          <a:p>
            <a:r>
              <a:rPr lang="en-US" sz="1200" b="0" i="0" kern="1200" dirty="0">
                <a:solidFill>
                  <a:schemeClr val="tx1"/>
                </a:solidFill>
                <a:effectLst/>
                <a:latin typeface="+mn-lt"/>
                <a:ea typeface="+mn-ea"/>
                <a:cs typeface="+mn-cs"/>
              </a:rPr>
              <a:t>This step highlights how Protected Mode allows controlled access to secure tags, ensuring they’re only visible to readers with the correct PIN or password. </a:t>
            </a:r>
            <a:endParaRPr lang="en-US" dirty="0"/>
          </a:p>
        </p:txBody>
      </p:sp>
      <p:sp>
        <p:nvSpPr>
          <p:cNvPr id="4" name="Slide Number Placeholder 3">
            <a:extLst>
              <a:ext uri="{FF2B5EF4-FFF2-40B4-BE49-F238E27FC236}">
                <a16:creationId xmlns:a16="http://schemas.microsoft.com/office/drawing/2014/main" id="{22AC98A6-76C6-7BE1-EAB2-3EA8185DFF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02196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1EFDF-A457-A59D-C6AC-8288EEE4B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B8951-4D9F-FED9-4915-4E8283828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8F821C-78AB-A834-DF2F-5D276BB070E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clear the Protected Mode configuration:</a:t>
            </a:r>
          </a:p>
          <a:p>
            <a:r>
              <a:rPr lang="en-US" sz="1200" b="0" i="0" kern="1200" dirty="0">
                <a:solidFill>
                  <a:schemeClr val="tx1"/>
                </a:solidFill>
                <a:effectLst/>
                <a:latin typeface="+mn-lt"/>
                <a:ea typeface="+mn-ea"/>
                <a:cs typeface="+mn-cs"/>
              </a:rPr>
              <a:t>Navigate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a:t>
            </a:r>
            <a:r>
              <a:rPr lang="en-US" sz="1200" b="1" i="0" kern="1200" dirty="0">
                <a:solidFill>
                  <a:schemeClr val="tx1"/>
                </a:solidFill>
                <a:effectLst/>
                <a:latin typeface="+mn-lt"/>
                <a:ea typeface="+mn-ea"/>
                <a:cs typeface="+mn-cs"/>
              </a:rPr>
              <a:t>Clear Protected Mode Configura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 </a:t>
            </a:r>
            <a:r>
              <a:rPr lang="en-US" sz="1200" b="1" i="0" kern="1200" dirty="0">
                <a:solidFill>
                  <a:schemeClr val="tx1"/>
                </a:solidFill>
                <a:effectLst/>
                <a:latin typeface="+mn-lt"/>
                <a:ea typeface="+mn-ea"/>
                <a:cs typeface="+mn-cs"/>
              </a:rPr>
              <a:t>Disable Visibility Success</a:t>
            </a:r>
            <a:r>
              <a:rPr lang="en-US" sz="1200" b="0" i="0" kern="1200" dirty="0">
                <a:solidFill>
                  <a:schemeClr val="tx1"/>
                </a:solidFill>
                <a:effectLst/>
                <a:latin typeface="+mn-lt"/>
                <a:ea typeface="+mn-ea"/>
                <a:cs typeface="+mn-cs"/>
              </a:rPr>
              <a:t> message confirming that the Protected Mode has been cleared.</a:t>
            </a:r>
          </a:p>
          <a:p>
            <a:r>
              <a:rPr lang="en-US" sz="1200" b="0" i="0" kern="1200" dirty="0">
                <a:solidFill>
                  <a:schemeClr val="tx1"/>
                </a:solidFill>
                <a:effectLst/>
                <a:latin typeface="+mn-lt"/>
                <a:ea typeface="+mn-ea"/>
                <a:cs typeface="+mn-cs"/>
              </a:rPr>
              <a:t>Now, repeat the earlier step—</a:t>
            </a:r>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to verify the results.</a:t>
            </a:r>
          </a:p>
          <a:p>
            <a:pPr lvl="1"/>
            <a:r>
              <a:rPr lang="en-US" sz="1200" b="0" i="0" kern="1200" dirty="0">
                <a:solidFill>
                  <a:schemeClr val="tx1"/>
                </a:solidFill>
                <a:effectLst/>
                <a:latin typeface="+mn-lt"/>
                <a:ea typeface="+mn-ea"/>
                <a:cs typeface="+mn-cs"/>
              </a:rPr>
              <a:t>Run an inventory without entering the PIN or password, and confirm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p:txBody>
      </p:sp>
      <p:sp>
        <p:nvSpPr>
          <p:cNvPr id="4" name="Slide Number Placeholder 3">
            <a:extLst>
              <a:ext uri="{FF2B5EF4-FFF2-40B4-BE49-F238E27FC236}">
                <a16:creationId xmlns:a16="http://schemas.microsoft.com/office/drawing/2014/main" id="{94FCBEF5-B59F-3435-4ED7-EEF5CE80FC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751817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E8D0F-76C7-9B5D-C90D-A91A02CA2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2DC50-972E-428D-9E81-4D01C1CC54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1BAF31-E2E6-22FC-C263-EFBC4609C1F0}"/>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Finally, let’s go through the process of unprotecting selected tags to fully restore their visibility and functionality.</a:t>
            </a:r>
          </a:p>
          <a:p>
            <a:r>
              <a:rPr lang="en-US" sz="1200" b="1" i="0" kern="1200" dirty="0">
                <a:solidFill>
                  <a:schemeClr val="tx1"/>
                </a:solidFill>
                <a:effectLst/>
                <a:latin typeface="+mn-lt"/>
                <a:ea typeface="+mn-ea"/>
                <a:cs typeface="+mn-cs"/>
              </a:rPr>
              <a:t>Step 7: Un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of the tag you want to unprotect. The application will auto-complete this field based on the tags previously inventoried.</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Protect Mode</a:t>
            </a:r>
            <a:r>
              <a:rPr lang="en-US" sz="1200" b="0" i="0" kern="1200" dirty="0">
                <a:solidFill>
                  <a:schemeClr val="tx1"/>
                </a:solidFill>
                <a:effectLst/>
                <a:latin typeface="+mn-lt"/>
                <a:ea typeface="+mn-ea"/>
                <a:cs typeface="+mn-cs"/>
              </a:rPr>
              <a:t> option as </a:t>
            </a:r>
            <a:r>
              <a:rPr lang="en-US" sz="1200" b="1" i="0" kern="1200" dirty="0">
                <a:solidFill>
                  <a:schemeClr val="tx1"/>
                </a:solidFill>
                <a:effectLst/>
                <a:latin typeface="+mn-lt"/>
                <a:ea typeface="+mn-ea"/>
                <a:cs typeface="+mn-cs"/>
              </a:rPr>
              <a:t>Unprot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used to protect the tag.</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n </a:t>
            </a:r>
            <a:r>
              <a:rPr lang="en-US" sz="1200" b="1" i="0" kern="1200" dirty="0">
                <a:solidFill>
                  <a:schemeClr val="tx1"/>
                </a:solidFill>
                <a:effectLst/>
                <a:latin typeface="+mn-lt"/>
                <a:ea typeface="+mn-ea"/>
                <a:cs typeface="+mn-cs"/>
              </a:rPr>
              <a:t>Unprotect Success</a:t>
            </a:r>
            <a:r>
              <a:rPr lang="en-US" sz="1200" b="0" i="0" kern="1200" dirty="0">
                <a:solidFill>
                  <a:schemeClr val="tx1"/>
                </a:solidFill>
                <a:effectLst/>
                <a:latin typeface="+mn-lt"/>
                <a:ea typeface="+mn-ea"/>
                <a:cs typeface="+mn-cs"/>
              </a:rPr>
              <a:t> message confirming the tag is now unprotected.</a:t>
            </a:r>
          </a:p>
          <a:p>
            <a:r>
              <a:rPr lang="en-US" sz="1200" b="0" i="0" kern="1200" dirty="0">
                <a:solidFill>
                  <a:schemeClr val="tx1"/>
                </a:solidFill>
                <a:effectLst/>
                <a:latin typeface="+mn-lt"/>
                <a:ea typeface="+mn-ea"/>
                <a:cs typeface="+mn-cs"/>
              </a:rPr>
              <a:t>To verify, repeat the earlier step—</a:t>
            </a:r>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Run an inventory, and all tags in the field of view, including the previously protected ones, should now be visible in the list.</a:t>
            </a:r>
          </a:p>
          <a:p>
            <a:r>
              <a:rPr lang="en-US" sz="1200" b="0" i="0" kern="1200" dirty="0">
                <a:solidFill>
                  <a:schemeClr val="tx1"/>
                </a:solidFill>
                <a:effectLst/>
                <a:latin typeface="+mn-lt"/>
                <a:ea typeface="+mn-ea"/>
                <a:cs typeface="+mn-cs"/>
              </a:rPr>
              <a:t>This step completes the Protected Mode demo, demonstrating how easily tags can be unprotected and restored to their standard state. </a:t>
            </a:r>
            <a:endParaRPr lang="en-US" dirty="0"/>
          </a:p>
        </p:txBody>
      </p:sp>
      <p:sp>
        <p:nvSpPr>
          <p:cNvPr id="4" name="Slide Number Placeholder 3">
            <a:extLst>
              <a:ext uri="{FF2B5EF4-FFF2-40B4-BE49-F238E27FC236}">
                <a16:creationId xmlns:a16="http://schemas.microsoft.com/office/drawing/2014/main" id="{241741A5-87A2-8A64-8A5D-808A657507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428316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7D7D5-7C74-056B-127B-BFED07320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5410A-64F8-077F-E002-896EFD4217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21DF47-3278-73A9-2569-A4F327BB4B1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closer look at the </a:t>
            </a:r>
            <a:r>
              <a:rPr lang="en-US" b="1" dirty="0"/>
              <a:t>Gen2X Feature Demo: </a:t>
            </a:r>
            <a:r>
              <a:rPr lang="en-US" b="1" dirty="0" err="1"/>
              <a:t>FastID</a:t>
            </a:r>
            <a:r>
              <a:rPr lang="en-US" dirty="0"/>
              <a:t> and how it enhances RFID performance in dense tag environments.</a:t>
            </a:r>
          </a:p>
          <a:p>
            <a:endParaRPr lang="en-US" dirty="0"/>
          </a:p>
        </p:txBody>
      </p:sp>
      <p:sp>
        <p:nvSpPr>
          <p:cNvPr id="4" name="Slide Number Placeholder 3">
            <a:extLst>
              <a:ext uri="{FF2B5EF4-FFF2-40B4-BE49-F238E27FC236}">
                <a16:creationId xmlns:a16="http://schemas.microsoft.com/office/drawing/2014/main" id="{40167D30-F60C-E56F-3EFB-A7A649B604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28999839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8F4DE-B337-92CC-F89D-E4F44DE066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E4ED14-99E3-7B3E-605C-B63ACB3722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23199E-096D-810B-86D6-87660FB9D4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A0F0DFD-4E15-2C62-9FCB-9A53BC0ED0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040132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2AE00-B251-FA18-C827-D5E485BD28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9E5168-A633-2B89-C069-6891D1F29F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B33ACA-7EB1-78CA-333A-B0F0F1BF7D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98CEB3-0982-4C40-0AC9-FF4BF2B9BC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481759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F7B06-7370-30F3-63B5-714800ED49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BFD569-FB35-F1D0-1032-FC53126FB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6C797F-AE76-F83A-05CA-D644099CD19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As part of our commitment to helping you get the most out of the </a:t>
            </a:r>
            <a:r>
              <a:rPr lang="en-US" sz="1200" b="1" i="0" kern="1200" dirty="0">
                <a:solidFill>
                  <a:schemeClr val="tx1"/>
                </a:solidFill>
                <a:effectLst/>
                <a:latin typeface="+mn-lt"/>
                <a:ea typeface="+mn-ea"/>
                <a:cs typeface="+mn-cs"/>
              </a:rPr>
              <a:t>Zebra Gen2X Android SDK Release</a:t>
            </a:r>
            <a:r>
              <a:rPr lang="en-US" sz="1200" b="0" i="0" kern="1200" dirty="0">
                <a:solidFill>
                  <a:schemeClr val="tx1"/>
                </a:solidFill>
                <a:effectLst/>
                <a:latin typeface="+mn-lt"/>
                <a:ea typeface="+mn-ea"/>
                <a:cs typeface="+mn-cs"/>
              </a:rPr>
              <a:t>, we’ve prepared a range of resources to support your journey. These resources are designed to make it easier for you to integrate, implement, and optimize the powerful Gen2X features in your applications."</a:t>
            </a:r>
          </a:p>
          <a:p>
            <a:r>
              <a:rPr lang="en-US" sz="1200" b="0" i="0" kern="1200" dirty="0">
                <a:solidFill>
                  <a:schemeClr val="tx1"/>
                </a:solidFill>
                <a:effectLst/>
                <a:latin typeface="+mn-lt"/>
                <a:ea typeface="+mn-ea"/>
                <a:cs typeface="+mn-cs"/>
              </a:rPr>
              <a:t>We have our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comprehensive, step-by-step guides that walk you through the process of integrating and using the Gen2X features. Whether you’re new to RFID technology or an experienced developer, these tutorials provide clear instructions and solutions to common challenges, ensuring a smooth development experi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xt, we’ve created a </a:t>
            </a:r>
            <a:r>
              <a:rPr lang="en-US" sz="1200" b="1" i="0" kern="1200" dirty="0">
                <a:solidFill>
                  <a:schemeClr val="tx1"/>
                </a:solidFill>
                <a:effectLst/>
                <a:latin typeface="+mn-lt"/>
                <a:ea typeface="+mn-ea"/>
                <a:cs typeface="+mn-cs"/>
              </a:rPr>
              <a:t>sample application</a:t>
            </a:r>
            <a:r>
              <a:rPr lang="en-US" sz="1200" b="0" i="0" kern="1200" dirty="0">
                <a:solidFill>
                  <a:schemeClr val="tx1"/>
                </a:solidFill>
                <a:effectLst/>
                <a:latin typeface="+mn-lt"/>
                <a:ea typeface="+mn-ea"/>
                <a:cs typeface="+mn-cs"/>
              </a:rPr>
              <a:t> to </a:t>
            </a:r>
            <a:r>
              <a:rPr lang="en-US" sz="1200" b="1" i="0" kern="1200" dirty="0">
                <a:solidFill>
                  <a:schemeClr val="tx1"/>
                </a:solidFill>
                <a:effectLst/>
                <a:latin typeface="+mn-lt"/>
                <a:ea typeface="+mn-ea"/>
                <a:cs typeface="+mn-cs"/>
              </a:rPr>
              <a:t>demo</a:t>
            </a:r>
            <a:r>
              <a:rPr lang="en-US" sz="1200" b="0" i="0" kern="1200" dirty="0">
                <a:solidFill>
                  <a:schemeClr val="tx1"/>
                </a:solidFill>
                <a:effectLst/>
                <a:latin typeface="+mn-lt"/>
                <a:ea typeface="+mn-ea"/>
                <a:cs typeface="+mn-cs"/>
              </a:rPr>
              <a:t> Gen2X features, allowing you to see them in action and understand how they work in real-world scenarios.</a:t>
            </a:r>
          </a:p>
          <a:p>
            <a:r>
              <a:rPr lang="en-US" sz="1200" b="0" i="0" kern="1200" dirty="0">
                <a:solidFill>
                  <a:schemeClr val="tx1"/>
                </a:solidFill>
                <a:effectLst/>
                <a:latin typeface="+mn-lt"/>
                <a:ea typeface="+mn-ea"/>
                <a:cs typeface="+mn-cs"/>
              </a:rPr>
              <a:t>It includes </a:t>
            </a:r>
            <a:r>
              <a:rPr lang="en-US" sz="1200" b="1" i="0" kern="1200" dirty="0">
                <a:solidFill>
                  <a:schemeClr val="tx1"/>
                </a:solidFill>
                <a:effectLst/>
                <a:latin typeface="+mn-lt"/>
                <a:ea typeface="+mn-ea"/>
                <a:cs typeface="+mn-cs"/>
              </a:rPr>
              <a:t>sample code</a:t>
            </a:r>
            <a:r>
              <a:rPr lang="en-US" sz="1200" b="0" i="0" kern="1200" dirty="0">
                <a:solidFill>
                  <a:schemeClr val="tx1"/>
                </a:solidFill>
                <a:effectLst/>
                <a:latin typeface="+mn-lt"/>
                <a:ea typeface="+mn-ea"/>
                <a:cs typeface="+mn-cs"/>
              </a:rPr>
              <a:t> to give you a jumpstart on your own development- saving time and effort while building your applica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d that’s not all! We’re also working on additional resources that will be available soon including:</a:t>
            </a:r>
          </a:p>
          <a:p>
            <a:r>
              <a:rPr lang="en-US" sz="1200" b="1" i="0" kern="1200" dirty="0">
                <a:solidFill>
                  <a:schemeClr val="tx1"/>
                </a:solidFill>
                <a:effectLst/>
                <a:latin typeface="+mn-lt"/>
                <a:ea typeface="+mn-ea"/>
                <a:cs typeface="+mn-cs"/>
              </a:rPr>
              <a:t>Demo Videos</a:t>
            </a:r>
            <a:r>
              <a:rPr lang="en-US" sz="1200" b="0" i="0" kern="1200" dirty="0">
                <a:solidFill>
                  <a:schemeClr val="tx1"/>
                </a:solidFill>
                <a:effectLst/>
                <a:latin typeface="+mn-lt"/>
                <a:ea typeface="+mn-ea"/>
                <a:cs typeface="+mn-cs"/>
              </a:rPr>
              <a:t> to showcase the Gen2X features in action, providing easy-to-follow visual demonstrations for better understanding.</a:t>
            </a:r>
          </a:p>
          <a:p>
            <a:r>
              <a:rPr lang="en-US" sz="1200" b="0" i="0" kern="1200" dirty="0">
                <a:solidFill>
                  <a:schemeClr val="tx1"/>
                </a:solidFill>
                <a:effectLst/>
                <a:latin typeface="+mn-lt"/>
                <a:ea typeface="+mn-ea"/>
                <a:cs typeface="+mn-cs"/>
              </a:rPr>
              <a:t>We’ll also be sharing a guide to help you maximize the performance, security, and efficiency of your RFID solutions using Gen2X</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 these resources, we’re making it easier than ever to learn, develop, and optimize with Gen2X. Whether you’re just getting started or looking to refine your RFID systems, we’ve got you covered. Stay tuned for updates and take advantage of these tools to unlock the full potential of Zebra Gen2X technology</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640EC43-E42A-F2BE-803F-EE2E15DF0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980928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687BD-3C02-81C1-1E59-6566A4E3FF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652AE2-FF2F-7E52-C865-16FE09085F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EDE6D-D7FC-2BEB-1E4E-81A111325BA3}"/>
              </a:ext>
            </a:extLst>
          </p:cNvPr>
          <p:cNvSpPr>
            <a:spLocks noGrp="1"/>
          </p:cNvSpPr>
          <p:nvPr>
            <p:ph type="body" idx="1"/>
          </p:nvPr>
        </p:nvSpPr>
        <p:spPr/>
        <p:txBody>
          <a:bodyPr/>
          <a:lstStyle/>
          <a:p>
            <a:endParaRPr lang="en-US" sz="2000" dirty="0"/>
          </a:p>
        </p:txBody>
      </p:sp>
      <p:sp>
        <p:nvSpPr>
          <p:cNvPr id="4" name="Slide Number Placeholder 3">
            <a:extLst>
              <a:ext uri="{FF2B5EF4-FFF2-40B4-BE49-F238E27FC236}">
                <a16:creationId xmlns:a16="http://schemas.microsoft.com/office/drawing/2014/main" id="{8BB5F091-EADC-4620-C23A-377639FAE0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10668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E7E93-4D27-AD9D-14EB-2E496439C3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3CE218-7242-8A66-378E-BB6296D100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E871B-0182-8271-AB5A-3DCFF4E3C8E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38A43C-D8FC-6068-35DC-F8ADC9F379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388562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EE9BE-DF93-F4E2-32EB-8460D58C74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F4E161-4B22-0650-049C-EF8288CFDC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14EBFE-C7BB-90EF-9FF5-D22879ABA3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60242A-F9D7-EF30-8273-B9465A81D1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80179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89D13-1310-B957-A099-FCF1DC85E7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2CC66A-F35C-6BA1-0551-814517012B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1B6E7D-003E-D095-4E2D-95221B18C3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6AFE502-4CFF-0FA7-AB93-3DF57F6A15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0448285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12F5E-6ABF-3ADB-B40F-DAA13F8C55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DE8507-E86F-5A7A-1235-2962291E93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2C3B59-8531-057F-ED0F-6249004040C5}"/>
              </a:ext>
            </a:extLst>
          </p:cNvPr>
          <p:cNvSpPr>
            <a:spLocks noGrp="1"/>
          </p:cNvSpPr>
          <p:nvPr>
            <p:ph type="body" idx="1"/>
          </p:nvPr>
        </p:nvSpPr>
        <p:spPr/>
        <p:txBody>
          <a:bodyPr/>
          <a:lstStyle/>
          <a:p>
            <a:endParaRPr lang="en-US" sz="2000" dirty="0"/>
          </a:p>
        </p:txBody>
      </p:sp>
      <p:sp>
        <p:nvSpPr>
          <p:cNvPr id="4" name="Slide Number Placeholder 3">
            <a:extLst>
              <a:ext uri="{FF2B5EF4-FFF2-40B4-BE49-F238E27FC236}">
                <a16:creationId xmlns:a16="http://schemas.microsoft.com/office/drawing/2014/main" id="{5C736D3D-96F5-5774-D9B3-7298ABD66E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8833180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A0E2D-D0E3-7631-FCAF-603C79BA5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BBC94-A241-1130-E7F4-B29F0A4D7F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377271-B235-4629-F4E1-F26883F5B96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wrap up, Zebra’s ‘NewGen2XPlay’ Sample Application provides a clear demonstration of the advanced capabilities of Gen2X features, offering powerful tools to optimize RFID performance.</a:t>
            </a:r>
          </a:p>
          <a:p>
            <a:r>
              <a:rPr lang="en-US" sz="1200" b="0" i="0" kern="1200" dirty="0">
                <a:solidFill>
                  <a:schemeClr val="tx1"/>
                </a:solidFill>
                <a:effectLst/>
                <a:latin typeface="+mn-lt"/>
                <a:ea typeface="+mn-ea"/>
                <a:cs typeface="+mn-cs"/>
              </a:rPr>
              <a:t>Here are the main takeaways from the application:</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simplifies inventory in dense environments by silencing unnecessary tags, ensuring faster and more accurate reads.</a:t>
            </a:r>
          </a:p>
          <a:p>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enhances efficiency by prioritizing unread or weaker tags, helping capture the most challenging tags in large populations.</a:t>
            </a:r>
          </a:p>
          <a:p>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secures sensitive data by requiring a PIN for tag visibility, making it ideal for applications where privacy and security are critica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verage the insights gained with these demos to explore how Gen2X features can enhance your RFID applications!</a:t>
            </a:r>
          </a:p>
          <a:p>
            <a:endParaRPr lang="en-US" dirty="0"/>
          </a:p>
        </p:txBody>
      </p:sp>
      <p:sp>
        <p:nvSpPr>
          <p:cNvPr id="4" name="Slide Number Placeholder 3">
            <a:extLst>
              <a:ext uri="{FF2B5EF4-FFF2-40B4-BE49-F238E27FC236}">
                <a16:creationId xmlns:a16="http://schemas.microsoft.com/office/drawing/2014/main" id="{7767C85E-DAE0-B1DD-2D57-4C3B025DC2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509585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80F83786-8BED-4854-A2CE-B36359CFC6F5}" type="slidenum">
              <a:rPr lang="en-US" smtClean="0"/>
              <a:t>46</a:t>
            </a:fld>
            <a:endParaRPr lang="en-US"/>
          </a:p>
        </p:txBody>
      </p:sp>
    </p:spTree>
    <p:extLst>
      <p:ext uri="{BB962C8B-B14F-4D97-AF65-F5344CB8AC3E}">
        <p14:creationId xmlns:p14="http://schemas.microsoft.com/office/powerpoint/2010/main" val="166278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C58B8-944C-B25B-37EB-3BC8EBD4C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36AE0F-541E-A043-6BE0-27BFEC4DC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A924D-F9B9-3AEE-5B3F-B089CE41FC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covered an overview of the Gen2X features and SDK, let’s focus on the purpose and practical use of the </a:t>
            </a:r>
            <a:r>
              <a:rPr lang="en-US" sz="1200" b="1" i="0" kern="1200" dirty="0">
                <a:solidFill>
                  <a:schemeClr val="tx1"/>
                </a:solidFill>
                <a:effectLst/>
                <a:latin typeface="+mn-lt"/>
                <a:ea typeface="+mn-ea"/>
                <a:cs typeface="+mn-cs"/>
              </a:rPr>
              <a:t>NewGen2XPlay sample application</a:t>
            </a:r>
            <a:endParaRPr lang="en-US" dirty="0"/>
          </a:p>
        </p:txBody>
      </p:sp>
      <p:sp>
        <p:nvSpPr>
          <p:cNvPr id="4" name="Slide Number Placeholder 3">
            <a:extLst>
              <a:ext uri="{FF2B5EF4-FFF2-40B4-BE49-F238E27FC236}">
                <a16:creationId xmlns:a16="http://schemas.microsoft.com/office/drawing/2014/main" id="{3C67F976-E1FA-01B8-02B9-1B4CD05F55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9568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C5F72-C048-714C-CFAD-92E721F64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37A67-9FE8-04AA-A14A-CC55F031E8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12578-F25B-B7B5-EB95-64132081F16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is tool is designed specifically for demonstration purposes to showcase the features of Impinj Gen2X extensions. It's a proof-of-concept application, along with source code and a guide, to help you explore these features and understand how to configure and use them effectively.</a:t>
            </a:r>
          </a:p>
          <a:p>
            <a:r>
              <a:rPr lang="en-US" sz="1200" b="0" i="0" kern="1200" dirty="0">
                <a:solidFill>
                  <a:schemeClr val="tx1"/>
                </a:solidFill>
                <a:effectLst/>
                <a:latin typeface="+mn-lt"/>
                <a:ea typeface="+mn-ea"/>
                <a:cs typeface="+mn-cs"/>
              </a:rPr>
              <a:t>Now, a few important points to keep in mind:</a:t>
            </a:r>
          </a:p>
          <a:p>
            <a:r>
              <a:rPr lang="en-US" sz="1200" b="1" i="0" kern="1200" dirty="0">
                <a:solidFill>
                  <a:schemeClr val="tx1"/>
                </a:solidFill>
                <a:effectLst/>
                <a:latin typeface="+mn-lt"/>
                <a:ea typeface="+mn-ea"/>
                <a:cs typeface="+mn-cs"/>
              </a:rPr>
              <a:t>Demo Purpose</a:t>
            </a:r>
            <a:r>
              <a:rPr lang="en-US" sz="1200" b="0" i="0" kern="1200" dirty="0">
                <a:solidFill>
                  <a:schemeClr val="tx1"/>
                </a:solidFill>
                <a:effectLst/>
                <a:latin typeface="+mn-lt"/>
                <a:ea typeface="+mn-ea"/>
                <a:cs typeface="+mn-cs"/>
              </a:rPr>
              <a:t>: This is not a production-ready solution. It’s meant as a learning and demonstration tool only.</a:t>
            </a:r>
          </a:p>
          <a:p>
            <a:r>
              <a:rPr lang="en-US" sz="1200" b="1" i="0" kern="1200" dirty="0">
                <a:solidFill>
                  <a:schemeClr val="tx1"/>
                </a:solidFill>
                <a:effectLst/>
                <a:latin typeface="+mn-lt"/>
                <a:ea typeface="+mn-ea"/>
                <a:cs typeface="+mn-cs"/>
              </a:rPr>
              <a:t>Source Code</a:t>
            </a:r>
            <a:r>
              <a:rPr lang="en-US" sz="1200" b="0" i="0" kern="1200" dirty="0">
                <a:solidFill>
                  <a:schemeClr val="tx1"/>
                </a:solidFill>
                <a:effectLst/>
                <a:latin typeface="+mn-lt"/>
                <a:ea typeface="+mn-ea"/>
                <a:cs typeface="+mn-cs"/>
              </a:rPr>
              <a:t>: We’ve shared the source code as a starting point to help you integrate Gen2X features into your own applications. But remember, it’s your responsibility to customize, test, and adapt it to your needs.</a:t>
            </a:r>
          </a:p>
          <a:p>
            <a:r>
              <a:rPr lang="en-US" sz="1200" b="1" i="0" kern="1200" dirty="0">
                <a:solidFill>
                  <a:schemeClr val="tx1"/>
                </a:solidFill>
                <a:effectLst/>
                <a:latin typeface="+mn-lt"/>
                <a:ea typeface="+mn-ea"/>
                <a:cs typeface="+mn-cs"/>
              </a:rPr>
              <a:t>Prerequisites</a:t>
            </a:r>
            <a:r>
              <a:rPr lang="en-US" sz="1200" b="0" i="0" kern="1200" dirty="0">
                <a:solidFill>
                  <a:schemeClr val="tx1"/>
                </a:solidFill>
                <a:effectLst/>
                <a:latin typeface="+mn-lt"/>
                <a:ea typeface="+mn-ea"/>
                <a:cs typeface="+mn-cs"/>
              </a:rPr>
              <a:t>: Before you get started, make sure you have the required hardware, compatible software, and Gen2X-enabled RFID tags, all of which are detailed in the guide.</a:t>
            </a:r>
          </a:p>
          <a:p>
            <a:r>
              <a:rPr lang="en-US" sz="1200" b="0" i="0" kern="1200" dirty="0">
                <a:solidFill>
                  <a:schemeClr val="tx1"/>
                </a:solidFill>
                <a:effectLst/>
                <a:latin typeface="+mn-lt"/>
                <a:ea typeface="+mn-ea"/>
                <a:cs typeface="+mn-cs"/>
              </a:rPr>
              <a:t>By using this sample application, you agree to these terms and understand its intended purpose as a demonstration tool. For more details, refer to the End User License Agreement provided with the software.</a:t>
            </a:r>
          </a:p>
          <a:p>
            <a:endParaRPr lang="en-US" dirty="0"/>
          </a:p>
        </p:txBody>
      </p:sp>
      <p:sp>
        <p:nvSpPr>
          <p:cNvPr id="4" name="Slide Number Placeholder 3">
            <a:extLst>
              <a:ext uri="{FF2B5EF4-FFF2-40B4-BE49-F238E27FC236}">
                <a16:creationId xmlns:a16="http://schemas.microsoft.com/office/drawing/2014/main" id="{F1CD3329-5195-C330-1380-72EAB0505F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445440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ACF7-F5E7-411F-D9AE-6067FD819F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AB4399-7279-7AF7-2E99-F5975E0C5A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228281-4209-83C8-4E57-DBD42A6799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ewGen2XPlay sample application is a powerful tool designed to demonstrate the advanced capabilities of Impinj Gen2X features, including Protected Mod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Tag Quieting. </a:t>
            </a:r>
          </a:p>
          <a:p>
            <a:r>
              <a:rPr lang="en-US" sz="1200" b="0" i="0" kern="1200" dirty="0">
                <a:solidFill>
                  <a:schemeClr val="tx1"/>
                </a:solidFill>
                <a:effectLst/>
                <a:latin typeface="+mn-lt"/>
                <a:ea typeface="+mn-ea"/>
                <a:cs typeface="+mn-cs"/>
              </a:rPr>
              <a:t>This guide provides a complete walkthrough, starting with a navigation overview to familiarize you with the application interface, followed by general configuration instructions for tasks like connecting to a reader, performing inventories, configuring singulation, and setting prefilters. It also includes step-by-step demonstrations for the three Gen2X features—</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Tag Quieting, and Protected Mode—each with detailed instructions to guide you through the feature-specific screens and configuration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use this sample application, you’ll need a mobile computer with Android 10 or later paired with a Zebra RFID Reader like the RFD40 or RFD90, or a Zebra RFID-enabled mobile computer such as the EM45 or TC53e-RFI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itionally, you’ll need the NewGen2XPlay sample application, which can be downloaded from Zebra’s </a:t>
            </a:r>
            <a:r>
              <a:rPr lang="en-US" sz="1200" b="0" i="0" kern="1200" dirty="0" err="1">
                <a:solidFill>
                  <a:schemeClr val="tx1"/>
                </a:solidFill>
                <a:effectLst/>
                <a:latin typeface="+mn-lt"/>
                <a:ea typeface="+mn-ea"/>
                <a:cs typeface="+mn-cs"/>
              </a:rPr>
              <a:t>TechDocs</a:t>
            </a:r>
            <a:r>
              <a:rPr lang="en-US" sz="1200" b="0" i="0" kern="1200" dirty="0">
                <a:solidFill>
                  <a:schemeClr val="tx1"/>
                </a:solidFill>
                <a:effectLst/>
                <a:latin typeface="+mn-lt"/>
                <a:ea typeface="+mn-ea"/>
                <a:cs typeface="+mn-cs"/>
              </a:rPr>
              <a:t>, and Gen2X-enabled RFID tags available from Impinj. With these tools and the instructions provided, you’ll be ready to explore how these features can enhance your RFID workflows and optimize performance.</a:t>
            </a:r>
            <a:endParaRPr lang="en-US" dirty="0"/>
          </a:p>
        </p:txBody>
      </p:sp>
      <p:sp>
        <p:nvSpPr>
          <p:cNvPr id="4" name="Slide Number Placeholder 3">
            <a:extLst>
              <a:ext uri="{FF2B5EF4-FFF2-40B4-BE49-F238E27FC236}">
                <a16:creationId xmlns:a16="http://schemas.microsoft.com/office/drawing/2014/main" id="{2465AC4F-4184-B0F7-1F50-BD19CE396D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966797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C445B-15D1-155E-608A-5D7ECC28B6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91FD0F-1D78-B736-ED24-E11B6ED765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3BB4A-8505-49A9-82F9-9C4634499718}"/>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avigation drawer in the NewGen2XPlay sample application provides quick access to key operations, making it easy to configure and demonstrate the app’s capabilities.</a:t>
            </a:r>
          </a:p>
          <a:p>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 allows you to establish a connection with an RFID reader, which is essential for performing all other operations.</a:t>
            </a:r>
          </a:p>
          <a:p>
            <a:r>
              <a:rPr lang="en-US" sz="1200" b="1" i="0" kern="1200" dirty="0">
                <a:solidFill>
                  <a:schemeClr val="tx1"/>
                </a:solidFill>
                <a:effectLst/>
                <a:latin typeface="+mn-lt"/>
                <a:ea typeface="+mn-ea"/>
                <a:cs typeface="+mn-cs"/>
              </a:rPr>
              <a:t>Inventory</a:t>
            </a:r>
            <a:r>
              <a:rPr lang="en-US" sz="1200" b="0" i="0" kern="1200" dirty="0">
                <a:solidFill>
                  <a:schemeClr val="tx1"/>
                </a:solidFill>
                <a:effectLst/>
                <a:latin typeface="+mn-lt"/>
                <a:ea typeface="+mn-ea"/>
                <a:cs typeface="+mn-cs"/>
              </a:rPr>
              <a:t> lets you read tags and apply Gen2X features like Tag Quieting,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Protected Mode, showcasing the app’s core functionality.</a:t>
            </a:r>
          </a:p>
          <a:p>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you can manage settings to fine-tune how tags are inventoried and how the reader interacts with them.</a:t>
            </a:r>
          </a:p>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Prefilter</a:t>
            </a:r>
            <a:r>
              <a:rPr lang="en-US" sz="1200" b="0" i="0" kern="1200" dirty="0">
                <a:solidFill>
                  <a:schemeClr val="tx1"/>
                </a:solidFill>
                <a:effectLst/>
                <a:latin typeface="+mn-lt"/>
                <a:ea typeface="+mn-ea"/>
                <a:cs typeface="+mn-cs"/>
              </a:rPr>
              <a:t> option enables you to set and manage prefilters, narrowing down the tags being read to specific subsets.</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helps you reduce redundant reads by managing filters to silence unnecessary tags, improving performance in dense environments.</a:t>
            </a:r>
          </a:p>
          <a:p>
            <a:r>
              <a:rPr lang="en-US" sz="1200" b="0" i="0" kern="1200" dirty="0">
                <a:solidFill>
                  <a:schemeClr val="tx1"/>
                </a:solidFill>
                <a:effectLst/>
                <a:latin typeface="+mn-lt"/>
                <a:ea typeface="+mn-ea"/>
                <a:cs typeface="+mn-cs"/>
              </a:rPr>
              <a:t>Finally, </a:t>
            </a:r>
            <a:r>
              <a:rPr lang="en-US" sz="1200" b="1" i="0" kern="1200" dirty="0">
                <a:solidFill>
                  <a:schemeClr val="tx1"/>
                </a:solidFill>
                <a:effectLst/>
                <a:latin typeface="+mn-lt"/>
                <a:ea typeface="+mn-ea"/>
                <a:cs typeface="+mn-cs"/>
              </a:rPr>
              <a:t>Protected Mode </a:t>
            </a:r>
            <a:r>
              <a:rPr lang="en-US" sz="1200" b="0" i="0" kern="1200" dirty="0">
                <a:solidFill>
                  <a:schemeClr val="tx1"/>
                </a:solidFill>
                <a:effectLst/>
                <a:latin typeface="+mn-lt"/>
                <a:ea typeface="+mn-ea"/>
                <a:cs typeface="+mn-cs"/>
              </a:rPr>
              <a:t>allows you to enable or disable Protected Mode, securing tags with a PIN to ensure privacy and control over sensitive data.</a:t>
            </a:r>
          </a:p>
          <a:p>
            <a:r>
              <a:rPr lang="en-US" sz="1200" b="0" i="0" kern="1200" dirty="0">
                <a:solidFill>
                  <a:schemeClr val="tx1"/>
                </a:solidFill>
                <a:effectLst/>
                <a:latin typeface="+mn-lt"/>
                <a:ea typeface="+mn-ea"/>
                <a:cs typeface="+mn-cs"/>
              </a:rPr>
              <a:t>These navigation options provide full control over the app’s features, allowing you to easily configure and demonstrate the power of Gen2X technology.</a:t>
            </a:r>
          </a:p>
        </p:txBody>
      </p:sp>
      <p:sp>
        <p:nvSpPr>
          <p:cNvPr id="4" name="Slide Number Placeholder 3">
            <a:extLst>
              <a:ext uri="{FF2B5EF4-FFF2-40B4-BE49-F238E27FC236}">
                <a16:creationId xmlns:a16="http://schemas.microsoft.com/office/drawing/2014/main" id="{538E0E2F-2E80-F077-33CF-042A13894D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897997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B9878-8ABF-4891-0564-64210FD2CC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8218C-0E8F-6CFD-5C8E-3B24420967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639D7-9B54-FD92-1F3F-CC744283F15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explored the navigation drawer and its role in giving you quick access to the app’s key operations, let’s start with the first step: </a:t>
            </a:r>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stablishing a connection with an RFID reader is the foundation for everything else you’ll do in the app. Without this connection, you won’t be able to perform inventory, apply Gen2X features, or configure other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Connect</a:t>
            </a:r>
            <a:r>
              <a:rPr lang="en-US" sz="1200" dirty="0"/>
              <a:t> displays all available RFID readers that are ready to connect. Simply click on the reader name to establish a conn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needed, use the </a:t>
            </a:r>
            <a:r>
              <a:rPr lang="en-US" sz="1200" b="1" dirty="0"/>
              <a:t>Refresh</a:t>
            </a:r>
            <a:r>
              <a:rPr lang="en-US" sz="1200" dirty="0"/>
              <a:t> button to update the list of available readers.</a:t>
            </a:r>
          </a:p>
          <a:p>
            <a:endParaRPr lang="en-US" dirty="0"/>
          </a:p>
        </p:txBody>
      </p:sp>
      <p:sp>
        <p:nvSpPr>
          <p:cNvPr id="4" name="Slide Number Placeholder 3">
            <a:extLst>
              <a:ext uri="{FF2B5EF4-FFF2-40B4-BE49-F238E27FC236}">
                <a16:creationId xmlns:a16="http://schemas.microsoft.com/office/drawing/2014/main" id="{C3DF8EE4-033C-4DA3-5AA5-888E2E9240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6884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58B5-1322-0D17-83D1-79473AB232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E86E12-8BAD-A93D-EF53-ED87EFE71A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80C27B-F514-E390-6551-5C3270512015}"/>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EAEA3712-ED91-36B7-C65C-B1511B6A0A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16142-163F-E544-85D5-B4FBECDF9FA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812893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6E4A7-00CF-3118-271E-BB91C9B805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E3B6E6-010B-3123-214F-0AE1D4BD52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B17B9F-6DE2-2270-9763-53ED960920BD}"/>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00AC8F3D-989A-2A77-C269-F9626765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48E447-6C8B-5D8C-B356-56FF1C9767E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647126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2"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73465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2" y="1642393"/>
            <a:ext cx="6695799" cy="4123409"/>
          </a:xfrm>
        </p:spPr>
        <p:txBody>
          <a:bodyPr anchor="ctr" anchorCtr="0"/>
          <a:lstStyle>
            <a:lvl1pPr>
              <a:defRPr sz="2799" b="0" i="0">
                <a:solidFill>
                  <a:schemeClr val="tx1"/>
                </a:solidFill>
                <a:latin typeface="Zebra Sans Cnd ExtraBold" pitchFamily="2" charset="77"/>
              </a:defRPr>
            </a:lvl1pPr>
            <a:lvl2pPr marL="0" indent="0">
              <a:spcBef>
                <a:spcPts val="0"/>
              </a:spcBef>
              <a:buNone/>
              <a:defRPr sz="1999">
                <a:solidFill>
                  <a:schemeClr val="tx1"/>
                </a:solidFill>
              </a:defRPr>
            </a:lvl2pPr>
            <a:lvl3pPr marL="14284"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16896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6"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4467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8"/>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8"/>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5"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5"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20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1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2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20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1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2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9324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2"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6"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3"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3"/>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799"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963863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2"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4"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3"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3"/>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4" y="1679468"/>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1" y="556013"/>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80"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240244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6"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2"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1"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1"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2"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2"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2"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8"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8"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8"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4"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3"/>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9"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9"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9"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163786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20"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8"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2"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6"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20"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8"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2"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6"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20"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8"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2"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6"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20"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8"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2"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6"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20"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8"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2"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6"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218290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168613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10" y="1488691"/>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16844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1B3206-4F7D-3A03-02B6-CFF76CD9BCE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16C9D9-BD53-1ADB-E739-D5E96A522B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D90F87-8AE5-8139-9FF5-89B9E9952F79}"/>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282A0698-43EB-64EC-A9EE-13D33EC2E3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28C06-EED3-FF4C-C526-A8FF4A727C22}"/>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448786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5"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459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content </a:t>
            </a:r>
            <a:br>
              <a:rPr lang="en-US" sz="1400" dirty="0"/>
            </a:br>
            <a:r>
              <a:rPr lang="en-US" sz="1400"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91251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8"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1"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2"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8"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1"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2"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8"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1"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2"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05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specific visuals</a:t>
            </a:r>
            <a:br>
              <a:rPr lang="en-US" sz="1400" dirty="0"/>
            </a:br>
            <a:r>
              <a:rPr lang="en-US" sz="1400"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14039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6591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6" y="1514142"/>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8"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072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213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453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1422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0"/>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6966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0286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3" y="0"/>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4411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6528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21548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0"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1" y="1106905"/>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0" y="2399578"/>
            <a:ext cx="9042992" cy="2792287"/>
          </a:xfrm>
        </p:spPr>
        <p:txBody>
          <a:bodyPr tIns="0" bIns="0" anchor="b"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0" y="5175702"/>
            <a:ext cx="904341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5964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13357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899"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7"/>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3" y="3083065"/>
            <a:ext cx="2200366" cy="686691"/>
          </a:xfrm>
          <a:prstGeom prst="rect">
            <a:avLst/>
          </a:prstGeom>
        </p:spPr>
      </p:pic>
    </p:spTree>
    <p:extLst>
      <p:ext uri="{BB962C8B-B14F-4D97-AF65-F5344CB8AC3E}">
        <p14:creationId xmlns:p14="http://schemas.microsoft.com/office/powerpoint/2010/main" val="161942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59692"/>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7"/>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5"/>
            <a:ext cx="2200366" cy="686691"/>
          </a:xfrm>
          <a:prstGeom prst="rect">
            <a:avLst/>
          </a:prstGeom>
        </p:spPr>
      </p:pic>
    </p:spTree>
    <p:extLst>
      <p:ext uri="{BB962C8B-B14F-4D97-AF65-F5344CB8AC3E}">
        <p14:creationId xmlns:p14="http://schemas.microsoft.com/office/powerpoint/2010/main" val="44065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7"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10887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3"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6"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7"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4"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1"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33354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29964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5"/>
          <a:stretch/>
        </p:blipFill>
        <p:spPr>
          <a:xfrm>
            <a:off x="5014038" y="2458907"/>
            <a:ext cx="168852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2908166071"/>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396792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tx1"/>
                </a:solidFill>
              </a:defRPr>
            </a:lvl1pPr>
          </a:lstStyle>
          <a:p>
            <a:r>
              <a:rPr lang="en-US" dirty="0"/>
              <a:t>Thank You!</a:t>
            </a:r>
          </a:p>
        </p:txBody>
      </p:sp>
    </p:spTree>
    <p:extLst>
      <p:ext uri="{BB962C8B-B14F-4D97-AF65-F5344CB8AC3E}">
        <p14:creationId xmlns:p14="http://schemas.microsoft.com/office/powerpoint/2010/main" val="272567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3" y="2492904"/>
            <a:ext cx="5999074" cy="1872192"/>
          </a:xfrm>
          <a:prstGeom prst="rect">
            <a:avLst/>
          </a:prstGeom>
        </p:spPr>
      </p:pic>
    </p:spTree>
    <p:extLst>
      <p:ext uri="{BB962C8B-B14F-4D97-AF65-F5344CB8AC3E}">
        <p14:creationId xmlns:p14="http://schemas.microsoft.com/office/powerpoint/2010/main" val="69220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7034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3"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3292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9191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48086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5275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56101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0791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lvl1pPr>
              <a:buClr>
                <a:schemeClr val="accent1"/>
              </a:buClr>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6228507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0363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85949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83569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38640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marL="352425" indent="-352425">
              <a:buFont typeface="+mj-lt"/>
              <a:buAutoNum type="arabicPeriod"/>
              <a:tabLst/>
              <a:defRPr>
                <a:solidFill>
                  <a:schemeClr val="tx1"/>
                </a:solidFill>
              </a:defRPr>
            </a:lvl1pPr>
            <a:lvl2pPr marL="693738" indent="-282575">
              <a:buFont typeface="+mj-lt"/>
              <a:buAutoNum type="arabicPeriod"/>
              <a:tabLst/>
              <a:defRPr>
                <a:solidFill>
                  <a:schemeClr val="tx1"/>
                </a:solidFill>
              </a:defRPr>
            </a:lvl2pPr>
            <a:lvl3pPr marL="974725" indent="-258763">
              <a:buFont typeface="+mj-lt"/>
              <a:buAutoNum type="arabicPeriod"/>
              <a:tabLst/>
              <a:defRPr>
                <a:solidFill>
                  <a:schemeClr val="tx1"/>
                </a:solidFill>
              </a:defRPr>
            </a:lvl3pPr>
            <a:lvl4pPr marL="974725" indent="-258763">
              <a:buFont typeface="+mj-lt"/>
              <a:buAutoNum type="arabicPeriod"/>
              <a:tabLst/>
              <a:defRPr>
                <a:solidFill>
                  <a:schemeClr val="tx1"/>
                </a:solidFill>
              </a:defRPr>
            </a:lvl4pPr>
            <a:lvl5pPr marL="974725" indent="-258763">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500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4"/>
            <a:ext cx="5638796" cy="5253711"/>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1"/>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5705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1"/>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4700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2"/>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2"/>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1" y="1231901"/>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53319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2"/>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18372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5"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2075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lvl1pPr>
              <a:defRPr>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solidFill>
                  <a:schemeClr val="bg1"/>
                </a:solidFill>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solidFill>
                  <a:schemeClr val="bg1"/>
                </a:solidFill>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7902934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06277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1"/>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092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8667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527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6"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8" y="384533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6"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6084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7"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3524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7"/>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5"/>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1611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5"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1"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5223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6617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8"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6"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6"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4541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8132771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68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4760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3192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260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7435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06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200" b="0" i="0" spc="-50" baseline="0">
                <a:solidFill>
                  <a:schemeClr val="tx2"/>
                </a:solidFill>
                <a:latin typeface="Zebra Sans Cnd ExtraBold" pitchFamily="2" charset="77"/>
              </a:defRPr>
            </a:lvl2pPr>
            <a:lvl3pPr marL="165100" indent="-165100">
              <a:spcBef>
                <a:spcPts val="600"/>
              </a:spcBef>
              <a:tabLst/>
              <a:defRPr>
                <a:solidFill>
                  <a:schemeClr val="tx1"/>
                </a:solidFill>
              </a:defRPr>
            </a:lvl3pPr>
            <a:lvl4pPr marL="165100" indent="-165100">
              <a:spcBef>
                <a:spcPts val="600"/>
              </a:spcBef>
              <a:tabLst/>
              <a:defRPr>
                <a:solidFill>
                  <a:schemeClr val="tx1"/>
                </a:solidFill>
              </a:defRPr>
            </a:lvl4pPr>
            <a:lvl5pPr marL="165100" indent="-16510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25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75258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94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200" b="0" i="0" spc="-50" baseline="0">
                <a:solidFill>
                  <a:schemeClr val="bg1"/>
                </a:solidFill>
                <a:latin typeface="Zebra Sans Cnd ExtraBold" pitchFamily="2" charset="77"/>
              </a:defRPr>
            </a:lvl2pPr>
            <a:lvl3pPr marL="165100" indent="-165100">
              <a:spcBef>
                <a:spcPts val="600"/>
              </a:spcBef>
              <a:tabLst/>
              <a:defRPr>
                <a:solidFill>
                  <a:schemeClr val="bg1"/>
                </a:solidFill>
              </a:defRPr>
            </a:lvl3pPr>
            <a:lvl4pPr marL="165100" indent="-165100">
              <a:spcBef>
                <a:spcPts val="600"/>
              </a:spcBef>
              <a:tabLst/>
              <a:defRPr>
                <a:solidFill>
                  <a:schemeClr val="bg1"/>
                </a:solidFill>
              </a:defRPr>
            </a:lvl4pPr>
            <a:lvl5pPr marL="165100" indent="-16510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465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150608"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697480"/>
            <a:ext cx="7150608" cy="932688"/>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4468" y="6314299"/>
            <a:ext cx="1054464"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4126"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9378" y="4414912"/>
            <a:ext cx="4238177" cy="245424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7556" y="0"/>
            <a:ext cx="2881269" cy="6858000"/>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5682" y="5189519"/>
            <a:ext cx="2881267" cy="1668482"/>
          </a:xfrm>
          <a:prstGeom prst="rtTriangle">
            <a:avLst/>
          </a:prstGeom>
          <a:solidFill>
            <a:srgbClr val="666666"/>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7555" y="1477259"/>
            <a:ext cx="2881269" cy="1668483"/>
          </a:xfrm>
          <a:prstGeom prst="rtTriangle">
            <a:avLst/>
          </a:prstGeom>
          <a:solidFill>
            <a:srgbClr val="CCCCCC"/>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7555" y="2"/>
            <a:ext cx="2881269" cy="1476651"/>
          </a:xfrm>
          <a:prstGeom prst="rect">
            <a:avLst/>
          </a:prstGeom>
          <a:solidFill>
            <a:srgbClr val="CCCCCC"/>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22431954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97235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6"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0" y="556011"/>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034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6"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65652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6"/>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7657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4"/>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0" y="556011"/>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6558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37925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4"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2"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1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3"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5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1672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6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79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5"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5" y="298032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5" y="4230624"/>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4" y="5188855"/>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0" y="1664872"/>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7" y="1966760"/>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8" y="2273648"/>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78"/>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3" y="3249800"/>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2"/>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4" y="4192775"/>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4" y="4500097"/>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6"/>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38"/>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501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3"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78"/>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2"/>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7"/>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199" y="5260788"/>
            <a:ext cx="2929468" cy="212751"/>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56172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0"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7"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33832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735824" cy="832104"/>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798064"/>
            <a:ext cx="7735824" cy="1225296"/>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249" y="5568696"/>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4051" y="437168"/>
            <a:ext cx="1904775"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4716" y="4114800"/>
            <a:ext cx="4737176" cy="27432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9444"/>
          <a:stretch/>
        </p:blipFill>
        <p:spPr>
          <a:xfrm>
            <a:off x="10291893" y="5303387"/>
            <a:ext cx="1896933" cy="1554615"/>
          </a:xfrm>
          <a:prstGeom prst="rect">
            <a:avLst/>
          </a:prstGeom>
        </p:spPr>
      </p:pic>
    </p:spTree>
    <p:extLst>
      <p:ext uri="{BB962C8B-B14F-4D97-AF65-F5344CB8AC3E}">
        <p14:creationId xmlns:p14="http://schemas.microsoft.com/office/powerpoint/2010/main" val="19461436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2"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39"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2320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105368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7"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219259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1"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40382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1" y="1642391"/>
            <a:ext cx="6695799" cy="4123409"/>
          </a:xfrm>
        </p:spPr>
        <p:txBody>
          <a:bodyPr anchor="ctr" anchorCtr="0"/>
          <a:lstStyle>
            <a:lvl1pPr>
              <a:defRPr sz="2800" b="0" i="0">
                <a:solidFill>
                  <a:schemeClr val="tx1"/>
                </a:solidFill>
                <a:latin typeface="Zebra Sans Cnd ExtraBold" pitchFamily="2" charset="77"/>
              </a:defRPr>
            </a:lvl1pPr>
            <a:lvl2pPr marL="0" indent="0">
              <a:spcBef>
                <a:spcPts val="0"/>
              </a:spcBef>
              <a:buNone/>
              <a:defRPr sz="2000">
                <a:solidFill>
                  <a:schemeClr val="tx1"/>
                </a:solidFill>
              </a:defRPr>
            </a:lvl2pPr>
            <a:lvl3pPr marL="14288"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55918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5"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9529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6"/>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6"/>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4"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4"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19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0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1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19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0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1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48949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1"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5"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2"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1"/>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8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74485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1"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3"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2"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1"/>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3" y="1679466"/>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0" y="556011"/>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7"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7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304046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1"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4"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0"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0"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0"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0"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3"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1"/>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41148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B1A8F-1784-4881-B45F-FC94A08523B0}"/>
              </a:ext>
            </a:extLst>
          </p:cNvPr>
          <p:cNvSpPr>
            <a:spLocks noGrp="1"/>
          </p:cNvSpPr>
          <p:nvPr>
            <p:ph type="title" hasCustomPrompt="1"/>
          </p:nvPr>
        </p:nvSpPr>
        <p:spPr>
          <a:xfrm>
            <a:off x="603503" y="1344168"/>
            <a:ext cx="8723376" cy="923544"/>
          </a:xfrm>
        </p:spPr>
        <p:txBody>
          <a:bodyPr/>
          <a:lstStyle>
            <a:lvl1pPr>
              <a:defRPr/>
            </a:lvl1pPr>
          </a:lstStyle>
          <a:p>
            <a:r>
              <a:rPr lang="en-US"/>
              <a:t>Click to enter divider slide title</a:t>
            </a:r>
          </a:p>
        </p:txBody>
      </p:sp>
      <p:sp>
        <p:nvSpPr>
          <p:cNvPr id="4" name="Rectangle 3">
            <a:extLst>
              <a:ext uri="{FF2B5EF4-FFF2-40B4-BE49-F238E27FC236}">
                <a16:creationId xmlns:a16="http://schemas.microsoft.com/office/drawing/2014/main" id="{C502D2C2-B670-4548-98A6-464D571842BA}"/>
              </a:ext>
            </a:extLst>
          </p:cNvPr>
          <p:cNvSpPr/>
          <p:nvPr userDrawn="1"/>
        </p:nvSpPr>
        <p:spPr>
          <a:xfrm>
            <a:off x="10484871" y="0"/>
            <a:ext cx="1713482" cy="6858000"/>
          </a:xfrm>
          <a:prstGeom prst="rect">
            <a:avLst/>
          </a:pr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chemeClr val="tx2"/>
              </a:solidFill>
              <a:effectLst/>
              <a:uLnTx/>
              <a:uFillTx/>
              <a:latin typeface="Arial" panose="020B0604020202020204"/>
              <a:ea typeface="+mn-ea"/>
              <a:cs typeface="Arial" charset="0"/>
            </a:endParaRPr>
          </a:p>
        </p:txBody>
      </p:sp>
      <p:sp>
        <p:nvSpPr>
          <p:cNvPr id="5" name="Rectangle 4">
            <a:extLst>
              <a:ext uri="{FF2B5EF4-FFF2-40B4-BE49-F238E27FC236}">
                <a16:creationId xmlns:a16="http://schemas.microsoft.com/office/drawing/2014/main" id="{04E0AEBD-6812-4AA1-AFCB-BB7CF467D339}"/>
              </a:ext>
            </a:extLst>
          </p:cNvPr>
          <p:cNvSpPr/>
          <p:nvPr userDrawn="1"/>
        </p:nvSpPr>
        <p:spPr>
          <a:xfrm>
            <a:off x="10490653" y="0"/>
            <a:ext cx="1707700" cy="344994"/>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6" name="AutoShape 4">
            <a:extLst>
              <a:ext uri="{FF2B5EF4-FFF2-40B4-BE49-F238E27FC236}">
                <a16:creationId xmlns:a16="http://schemas.microsoft.com/office/drawing/2014/main" id="{A506B7F3-32B6-4800-9FAF-E17558EDB792}"/>
              </a:ext>
            </a:extLst>
          </p:cNvPr>
          <p:cNvSpPr>
            <a:spLocks noChangeAspect="1" noChangeArrowheads="1"/>
          </p:cNvSpPr>
          <p:nvPr userDrawn="1"/>
        </p:nvSpPr>
        <p:spPr bwMode="auto">
          <a:xfrm flipV="1">
            <a:off x="10489394" y="344994"/>
            <a:ext cx="1713482" cy="992242"/>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7" name="Date Placeholder 3">
            <a:extLst>
              <a:ext uri="{FF2B5EF4-FFF2-40B4-BE49-F238E27FC236}">
                <a16:creationId xmlns:a16="http://schemas.microsoft.com/office/drawing/2014/main" id="{802C695D-D94C-4079-8824-3C6A27EB2D34}"/>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accent5"/>
                </a:solidFill>
              </a:rPr>
              <a:t>ZEBRA TECHNOLOGIES</a:t>
            </a:r>
          </a:p>
        </p:txBody>
      </p:sp>
    </p:spTree>
    <p:extLst>
      <p:ext uri="{BB962C8B-B14F-4D97-AF65-F5344CB8AC3E}">
        <p14:creationId xmlns:p14="http://schemas.microsoft.com/office/powerpoint/2010/main" val="477754847"/>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1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1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1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1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1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6518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70354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09" y="1488689"/>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08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4"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608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content </a:t>
            </a:r>
            <a:br>
              <a:rPr lang="en-US" dirty="0"/>
            </a:br>
            <a:r>
              <a:rPr lang="en-US"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69145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7"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0"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1"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7"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0"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1"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7"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0"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1"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438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specific visuals</a:t>
            </a:r>
            <a:br>
              <a:rPr lang="en-US" dirty="0"/>
            </a:br>
            <a:r>
              <a:rPr lang="en-US"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33450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94709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82AE-F872-486C-5168-5A2D1583EC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7BD705-DDB5-117C-9EC6-F9758BB519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15AEA-55D8-725B-FB31-D02F52977952}"/>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000A0EA3-481E-073C-DBED-9882361A7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6064D-55B6-B042-146B-616DB43622E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34601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F356-477D-4BE5-A22D-225C8D51BA2B}"/>
              </a:ext>
            </a:extLst>
          </p:cNvPr>
          <p:cNvSpPr>
            <a:spLocks noGrp="1"/>
          </p:cNvSpPr>
          <p:nvPr>
            <p:ph type="title" hasCustomPrompt="1"/>
          </p:nvPr>
        </p:nvSpPr>
        <p:spPr>
          <a:xfrm>
            <a:off x="603504" y="1344168"/>
            <a:ext cx="6071616" cy="2516632"/>
          </a:xfrm>
        </p:spPr>
        <p:txBody>
          <a:bodyPr/>
          <a:lstStyle>
            <a:lvl1pPr>
              <a:defRPr>
                <a:solidFill>
                  <a:schemeClr val="bg1"/>
                </a:solidFill>
              </a:defRPr>
            </a:lvl1pPr>
          </a:lstStyle>
          <a:p>
            <a:r>
              <a:rPr lang="en-US"/>
              <a:t>Click to enter divider slide title</a:t>
            </a:r>
          </a:p>
        </p:txBody>
      </p:sp>
      <p:sp>
        <p:nvSpPr>
          <p:cNvPr id="3" name="Date Placeholder 3">
            <a:extLst>
              <a:ext uri="{FF2B5EF4-FFF2-40B4-BE49-F238E27FC236}">
                <a16:creationId xmlns:a16="http://schemas.microsoft.com/office/drawing/2014/main" id="{82B68700-7976-4710-A0B3-F32C5203F27D}"/>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bg2"/>
                </a:solidFill>
              </a:rPr>
              <a:t>ZEBRA TECHNOLOGIES</a:t>
            </a:r>
          </a:p>
        </p:txBody>
      </p:sp>
    </p:spTree>
    <p:extLst>
      <p:ext uri="{BB962C8B-B14F-4D97-AF65-F5344CB8AC3E}">
        <p14:creationId xmlns:p14="http://schemas.microsoft.com/office/powerpoint/2010/main" val="416306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1col-30D-Black-CC">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1" y="457200"/>
            <a:ext cx="10506455" cy="365760"/>
          </a:xfrm>
        </p:spPr>
        <p:txBody>
          <a:bodyPr/>
          <a:lstStyle>
            <a:lvl1pPr>
              <a:defRPr>
                <a:solidFill>
                  <a:schemeClr val="bg1"/>
                </a:solidFill>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1" y="932688"/>
            <a:ext cx="10506455" cy="365760"/>
          </a:xfr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4072" y="5669280"/>
            <a:ext cx="2057928"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319" y="1691640"/>
            <a:ext cx="10509193" cy="4050792"/>
          </a:xfrm>
        </p:spPr>
        <p:txBody>
          <a:bodyPr/>
          <a:lstStyle>
            <a:lvl1pPr>
              <a:buClr>
                <a:schemeClr val="accent1"/>
              </a:buCl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7625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ntent-1col-Graphics-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9817468"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41608447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1col-Graphics-2">
    <p:bg>
      <p:bgRef idx="1001">
        <a:schemeClr val="bg2"/>
      </p:bgRef>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4051" y="457201"/>
            <a:ext cx="1904775" cy="6400800"/>
          </a:xfrm>
          <a:prstGeom prst="rect">
            <a:avLst/>
          </a:prstGeom>
          <a:solidFill>
            <a:schemeClr val="tx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08160" y="5507675"/>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44222083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hank You Black">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884857-C0F4-44DA-B05D-4BF14E99F8CD}"/>
              </a:ext>
            </a:extLst>
          </p:cNvPr>
          <p:cNvSpPr/>
          <p:nvPr userDrawn="1"/>
        </p:nvSpPr>
        <p:spPr>
          <a:xfrm>
            <a:off x="10809764" y="-7004"/>
            <a:ext cx="1389951" cy="6865004"/>
          </a:xfrm>
          <a:prstGeom prst="rect">
            <a:avLst/>
          </a:prstGeom>
          <a:solidFill>
            <a:schemeClr val="accent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808537" y="-7005"/>
            <a:ext cx="1394353" cy="1394861"/>
          </a:xfrm>
          <a:prstGeom prst="rect">
            <a:avLst/>
          </a:prstGeom>
        </p:spPr>
      </p:pic>
      <p:sp>
        <p:nvSpPr>
          <p:cNvPr id="5" name="TextBox 4">
            <a:extLst>
              <a:ext uri="{FF2B5EF4-FFF2-40B4-BE49-F238E27FC236}">
                <a16:creationId xmlns:a16="http://schemas.microsoft.com/office/drawing/2014/main" id="{8D96526C-F98F-430F-83A5-D3D0E19A597C}"/>
              </a:ext>
            </a:extLst>
          </p:cNvPr>
          <p:cNvSpPr txBox="1"/>
          <p:nvPr userDrawn="1"/>
        </p:nvSpPr>
        <p:spPr>
          <a:xfrm>
            <a:off x="1227240" y="1239532"/>
            <a:ext cx="5524397" cy="640080"/>
          </a:xfrm>
          <a:prstGeom prst="rect">
            <a:avLst/>
          </a:prstGeom>
          <a:noFill/>
          <a:ln>
            <a:noFill/>
          </a:ln>
        </p:spPr>
        <p:txBody>
          <a:bodyPr wrap="square" lIns="0" tIns="0" rIns="0" bIns="0" rtlCol="0">
            <a:no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Arial" panose="020B0604020202020204"/>
                <a:ea typeface="ＭＳ Ｐゴシック"/>
                <a:cs typeface="+mn-cs"/>
              </a:rPr>
              <a:t>Thank You</a:t>
            </a:r>
          </a:p>
        </p:txBody>
      </p:sp>
      <p:pic>
        <p:nvPicPr>
          <p:cNvPr id="7" name="Picture 6">
            <a:extLst>
              <a:ext uri="{FF2B5EF4-FFF2-40B4-BE49-F238E27FC236}">
                <a16:creationId xmlns:a16="http://schemas.microsoft.com/office/drawing/2014/main" id="{E2FD3634-09C7-44C5-9C9B-55D49FF6AD1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227241" y="4749117"/>
            <a:ext cx="2188711" cy="704088"/>
          </a:xfrm>
          <a:prstGeom prst="rect">
            <a:avLst/>
          </a:prstGeom>
          <a:noFill/>
        </p:spPr>
      </p:pic>
      <p:sp>
        <p:nvSpPr>
          <p:cNvPr id="8" name="Rectangle 7">
            <a:extLst>
              <a:ext uri="{FF2B5EF4-FFF2-40B4-BE49-F238E27FC236}">
                <a16:creationId xmlns:a16="http://schemas.microsoft.com/office/drawing/2014/main" id="{385A6CDA-286F-4BE6-985F-945EBBF1704C}"/>
              </a:ext>
            </a:extLst>
          </p:cNvPr>
          <p:cNvSpPr/>
          <p:nvPr userDrawn="1"/>
        </p:nvSpPr>
        <p:spPr>
          <a:xfrm>
            <a:off x="1227241" y="6203838"/>
            <a:ext cx="8110469" cy="477026"/>
          </a:xfrm>
          <a:prstGeom prst="rect">
            <a:avLst/>
          </a:prstGeom>
        </p:spPr>
        <p:txBody>
          <a:bodyPr wrap="square" lIns="0" tIns="0" rIns="121867" bIns="60933">
            <a:spAutoFit/>
          </a:bodyPr>
          <a:lstStyle/>
          <a:p>
            <a:r>
              <a:rPr lang="en-US" sz="900" b="0" i="0">
                <a:solidFill>
                  <a:schemeClr val="tx1">
                    <a:lumMod val="50000"/>
                  </a:schemeClr>
                </a:solidFill>
                <a:effectLst/>
                <a:latin typeface="Arial" panose="020B0604020202020204" pitchFamily="34" charset="0"/>
              </a:rPr>
              <a:t>ZEBRA and the stylized Zebra head are trademarks of Zebra Technologies Corp., registered in many jurisdictions worldwide. The Bluetooth® word mark and logos are registered trademarks owned by Bluetooth SIG, Inc. and any use of such marks by Zebra is under license. Wi-Fi™ is a trademark of Wi-Fi Alliance®. All other trademarks are the property of their respective owners. ©2023 Zebra Technologies Corp. and/or its affiliates. </a:t>
            </a:r>
            <a:r>
              <a:rPr lang="en-US" sz="900" b="0" i="0">
                <a:solidFill>
                  <a:schemeClr val="tx1">
                    <a:lumMod val="50000"/>
                  </a:schemeClr>
                </a:solidFill>
                <a:latin typeface="Arial" panose="020B0604020202020204" pitchFamily="34" charset="0"/>
              </a:rPr>
              <a:t>09/06/2023</a:t>
            </a:r>
            <a:r>
              <a:rPr lang="en-US" sz="900" b="0" i="0">
                <a:solidFill>
                  <a:schemeClr val="tx1">
                    <a:lumMod val="50000"/>
                  </a:schemeClr>
                </a:solidFill>
                <a:effectLst/>
                <a:latin typeface="Arial" panose="020B0604020202020204" pitchFamily="34" charset="0"/>
              </a:rPr>
              <a:t>.</a:t>
            </a:r>
          </a:p>
        </p:txBody>
      </p:sp>
    </p:spTree>
    <p:extLst>
      <p:ext uri="{BB962C8B-B14F-4D97-AF65-F5344CB8AC3E}">
        <p14:creationId xmlns:p14="http://schemas.microsoft.com/office/powerpoint/2010/main" val="2887766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9_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2"/>
            <a:ext cx="11228832" cy="430887"/>
          </a:xfrm>
        </p:spPr>
        <p:txBody>
          <a:bodyPr/>
          <a:lstStyle>
            <a:lvl1pPr>
              <a:defRPr/>
            </a:lvl1pPr>
          </a:lstStyle>
          <a:p>
            <a:r>
              <a:rPr lang="en-US"/>
              <a:t>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11228832" cy="365760"/>
          </a:xfrm>
        </p:spPr>
        <p:txBody>
          <a:bodyPr/>
          <a:lstStyle>
            <a:lvl1pPr marL="0" indent="0">
              <a:buNone/>
              <a:defRPr sz="2398">
                <a:solidFill>
                  <a:schemeClr val="bg2"/>
                </a:solidFill>
              </a:defRPr>
            </a:lvl1pPr>
          </a:lstStyle>
          <a:p>
            <a:pPr lvl="0"/>
            <a:r>
              <a:rPr lang="en-US"/>
              <a:t>Subhead</a:t>
            </a: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hasCustomPrompt="1"/>
          </p:nvPr>
        </p:nvSpPr>
        <p:spPr>
          <a:xfrm>
            <a:off x="457320"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8" name="Text Placeholder 4">
            <a:extLst>
              <a:ext uri="{FF2B5EF4-FFF2-40B4-BE49-F238E27FC236}">
                <a16:creationId xmlns:a16="http://schemas.microsoft.com/office/drawing/2014/main" id="{6C41CF8B-D082-E448-8494-1A819DA08BC1}"/>
              </a:ext>
            </a:extLst>
          </p:cNvPr>
          <p:cNvSpPr>
            <a:spLocks noGrp="1"/>
          </p:cNvSpPr>
          <p:nvPr>
            <p:ph type="body" sz="quarter" idx="12" hasCustomPrompt="1"/>
          </p:nvPr>
        </p:nvSpPr>
        <p:spPr>
          <a:xfrm>
            <a:off x="2843318"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9" name="Text Placeholder 4">
            <a:extLst>
              <a:ext uri="{FF2B5EF4-FFF2-40B4-BE49-F238E27FC236}">
                <a16:creationId xmlns:a16="http://schemas.microsoft.com/office/drawing/2014/main" id="{36ADC1FC-8100-4C4C-A2E3-3C979271F133}"/>
              </a:ext>
            </a:extLst>
          </p:cNvPr>
          <p:cNvSpPr>
            <a:spLocks noGrp="1"/>
          </p:cNvSpPr>
          <p:nvPr>
            <p:ph type="body" sz="quarter" idx="13" hasCustomPrompt="1"/>
          </p:nvPr>
        </p:nvSpPr>
        <p:spPr>
          <a:xfrm>
            <a:off x="5229317" y="2109026"/>
            <a:ext cx="1763290" cy="487313"/>
          </a:xfrm>
          <a:solidFill>
            <a:schemeClr val="bg1"/>
          </a:solidFill>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0" name="Text Placeholder 4">
            <a:extLst>
              <a:ext uri="{FF2B5EF4-FFF2-40B4-BE49-F238E27FC236}">
                <a16:creationId xmlns:a16="http://schemas.microsoft.com/office/drawing/2014/main" id="{F2AD9FD1-C8A7-F541-9934-4D6E38E0CFAA}"/>
              </a:ext>
            </a:extLst>
          </p:cNvPr>
          <p:cNvSpPr>
            <a:spLocks noGrp="1"/>
          </p:cNvSpPr>
          <p:nvPr>
            <p:ph type="body" sz="quarter" idx="14" hasCustomPrompt="1"/>
          </p:nvPr>
        </p:nvSpPr>
        <p:spPr>
          <a:xfrm>
            <a:off x="7585394"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1" name="Text Placeholder 4">
            <a:extLst>
              <a:ext uri="{FF2B5EF4-FFF2-40B4-BE49-F238E27FC236}">
                <a16:creationId xmlns:a16="http://schemas.microsoft.com/office/drawing/2014/main" id="{2D3461FA-FC27-DB42-A7C2-1CF2C75F6B52}"/>
              </a:ext>
            </a:extLst>
          </p:cNvPr>
          <p:cNvSpPr>
            <a:spLocks noGrp="1"/>
          </p:cNvSpPr>
          <p:nvPr>
            <p:ph type="body" sz="quarter" idx="15" hasCustomPrompt="1"/>
          </p:nvPr>
        </p:nvSpPr>
        <p:spPr>
          <a:xfrm>
            <a:off x="9971392"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2" name="Date Placeholder 3">
            <a:extLst>
              <a:ext uri="{FF2B5EF4-FFF2-40B4-BE49-F238E27FC236}">
                <a16:creationId xmlns:a16="http://schemas.microsoft.com/office/drawing/2014/main" id="{42206BB8-2B2B-2B9C-21D2-C57361268200}"/>
              </a:ext>
            </a:extLst>
          </p:cNvPr>
          <p:cNvSpPr txBox="1">
            <a:spLocks/>
          </p:cNvSpPr>
          <p:nvPr userDrawn="1"/>
        </p:nvSpPr>
        <p:spPr>
          <a:xfrm>
            <a:off x="0" y="6401929"/>
            <a:ext cx="1580444" cy="457200"/>
          </a:xfrm>
          <a:prstGeom prst="rect">
            <a:avLst/>
          </a:prstGeom>
          <a:solidFill>
            <a:schemeClr val="bg1"/>
          </a:solidFill>
        </p:spPr>
        <p:txBody>
          <a:bodyPr lIns="182784" tIns="0" rIns="0" bIns="182784"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p>
        </p:txBody>
      </p:sp>
    </p:spTree>
    <p:extLst>
      <p:ext uri="{BB962C8B-B14F-4D97-AF65-F5344CB8AC3E}">
        <p14:creationId xmlns:p14="http://schemas.microsoft.com/office/powerpoint/2010/main" val="394326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0"/>
            <a:ext cx="8577072" cy="365760"/>
          </a:xfrm>
        </p:spPr>
        <p:txBody>
          <a:bodyPr/>
          <a:lstStyle>
            <a:lvl1pPr>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305828" y="457201"/>
            <a:ext cx="1904775"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1760" y="447042"/>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31296"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0311438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r>
              <a:rPr lang="en-US"/>
              <a:t>Click to edit Master text styles</a:t>
            </a:r>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4" name="TextBox 3">
            <a:extLst>
              <a:ext uri="{FF2B5EF4-FFF2-40B4-BE49-F238E27FC236}">
                <a16:creationId xmlns:a16="http://schemas.microsoft.com/office/drawing/2014/main" id="{0C14EA2A-5E52-D486-1A69-EE0931E8AAD4}"/>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370260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12C64F-6806-4D21-82F0-E419823094A4}"/>
              </a:ext>
            </a:extLst>
          </p:cNvPr>
          <p:cNvGraphicFramePr>
            <a:graphicFrameLocks noChangeAspect="1"/>
          </p:cNvGraphicFramePr>
          <p:nvPr userDrawn="1">
            <p:custDataLst>
              <p:tags r:id="rId1"/>
            </p:custDataLst>
            <p:extLst>
              <p:ext uri="{D42A27DB-BD31-4B8C-83A1-F6EECF244321}">
                <p14:modId xmlns:p14="http://schemas.microsoft.com/office/powerpoint/2010/main" val="374063598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C112C64F-6806-4D21-82F0-E419823094A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4" name="Footer Placeholder 3"/>
          <p:cNvSpPr>
            <a:spLocks noGrp="1"/>
          </p:cNvSpPr>
          <p:nvPr>
            <p:ph type="ftr" sz="quarter" idx="3"/>
          </p:nvPr>
        </p:nvSpPr>
        <p:spPr>
          <a:xfrm>
            <a:off x="9687784" y="6646448"/>
            <a:ext cx="1880323" cy="123111"/>
          </a:xfrm>
          <a:prstGeom prst="rect">
            <a:avLst/>
          </a:prstGeom>
        </p:spPr>
        <p:txBody>
          <a:bodyPr wrap="none" lIns="0" tIns="0" rIns="0" bIns="0">
            <a:spAutoFit/>
          </a:bodyPr>
          <a:lstStyle>
            <a:lvl1pPr algn="r">
              <a:defRPr sz="800">
                <a:latin typeface="+mn-lt"/>
              </a:defRPr>
            </a:lvl1pPr>
          </a:lstStyle>
          <a:p>
            <a:r>
              <a:rPr lang="en-US">
                <a:solidFill>
                  <a:srgbClr val="7F7F7F"/>
                </a:solidFill>
              </a:rPr>
              <a:t>Zebra Confidential: For Internal Use Only</a:t>
            </a:r>
          </a:p>
        </p:txBody>
      </p:sp>
      <p:sp>
        <p:nvSpPr>
          <p:cNvPr id="5" name="TextBox 4">
            <a:extLst>
              <a:ext uri="{FF2B5EF4-FFF2-40B4-BE49-F238E27FC236}">
                <a16:creationId xmlns:a16="http://schemas.microsoft.com/office/drawing/2014/main" id="{ACFC0CB6-B4BA-BED8-2BF9-FECE7CCC4262}"/>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2516773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406101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7EB28-6474-CD37-1DC9-0E1188EE524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4AA718-B392-C0A7-7B3F-683AEA9710F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7EFBBFE-C1E2-24BD-89BB-EBEFFBDC346C}"/>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2AE97EE5-8AE1-6C69-0218-E30EEC048C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53181F-B51B-7BDC-DD96-AAE67EC09EFC}"/>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4248397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10106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46581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7" y="1514144"/>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677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71038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29884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62444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2"/>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40259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4" y="2"/>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80661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80596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7499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16A86-5643-D1CD-62D3-3983D2E7AC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A6C33-0410-5774-8217-721057D818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784397-BD71-7FD3-F1CD-240F985419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597692-74E5-093F-0329-2A04221A0411}"/>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6" name="Footer Placeholder 5">
            <a:extLst>
              <a:ext uri="{FF2B5EF4-FFF2-40B4-BE49-F238E27FC236}">
                <a16:creationId xmlns:a16="http://schemas.microsoft.com/office/drawing/2014/main" id="{9D82B4C6-D374-EF06-8F9C-53EE674590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5C464E-0893-E544-FFCF-7A50672D9EC3}"/>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4080835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1"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2" y="1106907"/>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1" y="2399580"/>
            <a:ext cx="9042992" cy="2792287"/>
          </a:xfrm>
        </p:spPr>
        <p:txBody>
          <a:bodyPr tIns="0" bIns="0" anchor="b"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1" y="5175702"/>
            <a:ext cx="904341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719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30028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900"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8"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9"/>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4" y="3083067"/>
            <a:ext cx="2200366" cy="686691"/>
          </a:xfrm>
          <a:prstGeom prst="rect">
            <a:avLst/>
          </a:prstGeom>
        </p:spPr>
      </p:pic>
    </p:spTree>
    <p:extLst>
      <p:ext uri="{BB962C8B-B14F-4D97-AF65-F5344CB8AC3E}">
        <p14:creationId xmlns:p14="http://schemas.microsoft.com/office/powerpoint/2010/main" val="96180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59694"/>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9"/>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7"/>
            <a:ext cx="2200366" cy="686691"/>
          </a:xfrm>
          <a:prstGeom prst="rect">
            <a:avLst/>
          </a:prstGeom>
        </p:spPr>
      </p:pic>
    </p:spTree>
    <p:extLst>
      <p:ext uri="{BB962C8B-B14F-4D97-AF65-F5344CB8AC3E}">
        <p14:creationId xmlns:p14="http://schemas.microsoft.com/office/powerpoint/2010/main" val="174474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8"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3"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25458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4"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5"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2095715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71976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287846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tx1"/>
                </a:solidFill>
              </a:defRPr>
            </a:lvl1pPr>
          </a:lstStyle>
          <a:p>
            <a:r>
              <a:rPr lang="en-US" dirty="0"/>
              <a:t>Thank You!</a:t>
            </a:r>
          </a:p>
        </p:txBody>
      </p:sp>
    </p:spTree>
    <p:extLst>
      <p:ext uri="{BB962C8B-B14F-4D97-AF65-F5344CB8AC3E}">
        <p14:creationId xmlns:p14="http://schemas.microsoft.com/office/powerpoint/2010/main" val="203082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4" y="2492904"/>
            <a:ext cx="5999074" cy="1872192"/>
          </a:xfrm>
          <a:prstGeom prst="rect">
            <a:avLst/>
          </a:prstGeom>
        </p:spPr>
      </p:pic>
    </p:spTree>
    <p:extLst>
      <p:ext uri="{BB962C8B-B14F-4D97-AF65-F5344CB8AC3E}">
        <p14:creationId xmlns:p14="http://schemas.microsoft.com/office/powerpoint/2010/main" val="283763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FAE19-0138-BAAC-D4FA-1E09F80F3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BF15B8-60D2-C1F6-5E98-53613D68EB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BB31B3-9A66-BEAA-643C-1113B354B4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9B1218C-07C9-EE78-6F92-DF7BE8DCA8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AA8535-2562-7D41-4E9C-3F26F57402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044DF9-7596-9B82-E779-14711A82231D}"/>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8" name="Footer Placeholder 7">
            <a:extLst>
              <a:ext uri="{FF2B5EF4-FFF2-40B4-BE49-F238E27FC236}">
                <a16:creationId xmlns:a16="http://schemas.microsoft.com/office/drawing/2014/main" id="{0B872111-DBDD-C879-1ACB-A6A2691BF6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321B22-C026-B316-AD44-A9068F1BD25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19631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03909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4"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94303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14505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68168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90931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359629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99313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05116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230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70566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DC6A6-922A-ABF1-EAFA-1D102FEC81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04539A-F042-FFCF-AA6C-CFD1A26570D2}"/>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4" name="Footer Placeholder 3">
            <a:extLst>
              <a:ext uri="{FF2B5EF4-FFF2-40B4-BE49-F238E27FC236}">
                <a16:creationId xmlns:a16="http://schemas.microsoft.com/office/drawing/2014/main" id="{55FF5B7D-C2CF-3214-78B7-9F9A3C91BDC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C9A45C-A7E9-4595-A6A2-BBBC20205CF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512328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2907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marL="352319" indent="-352319">
              <a:buFont typeface="+mj-lt"/>
              <a:buAutoNum type="arabicPeriod"/>
              <a:tabLst/>
              <a:defRPr>
                <a:solidFill>
                  <a:schemeClr val="tx1"/>
                </a:solidFill>
              </a:defRPr>
            </a:lvl1pPr>
            <a:lvl2pPr marL="693530" indent="-282490">
              <a:buFont typeface="+mj-lt"/>
              <a:buAutoNum type="arabicPeriod"/>
              <a:tabLst/>
              <a:defRPr>
                <a:solidFill>
                  <a:schemeClr val="tx1"/>
                </a:solidFill>
              </a:defRPr>
            </a:lvl2pPr>
            <a:lvl3pPr marL="974433" indent="-258685">
              <a:buFont typeface="+mj-lt"/>
              <a:buAutoNum type="arabicPeriod"/>
              <a:tabLst/>
              <a:defRPr>
                <a:solidFill>
                  <a:schemeClr val="tx1"/>
                </a:solidFill>
              </a:defRPr>
            </a:lvl3pPr>
            <a:lvl4pPr marL="974433" indent="-258685">
              <a:buFont typeface="+mj-lt"/>
              <a:buAutoNum type="arabicPeriod"/>
              <a:tabLst/>
              <a:defRPr>
                <a:solidFill>
                  <a:schemeClr val="tx1"/>
                </a:solidFill>
              </a:defRPr>
            </a:lvl4pPr>
            <a:lvl5pPr marL="974433" indent="-258685">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70134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6"/>
            <a:ext cx="5638796" cy="5253711"/>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3"/>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9775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3"/>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8363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4"/>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4"/>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2" y="1231903"/>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78516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4"/>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08972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2"/>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6"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03003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56827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2"/>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70639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2189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873D26-B2BA-0B1E-A1B7-9A23F8EE5E28}"/>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3" name="Footer Placeholder 2">
            <a:extLst>
              <a:ext uri="{FF2B5EF4-FFF2-40B4-BE49-F238E27FC236}">
                <a16:creationId xmlns:a16="http://schemas.microsoft.com/office/drawing/2014/main" id="{5E89E63B-9C88-97DE-0100-C4403B898E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F243DB6-0543-DAE3-D25D-4A3EC00E5A2D}"/>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980018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5654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9" y="182880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7"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9" y="384533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7"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9678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8"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12810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9"/>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7"/>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56019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2"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0325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43717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9"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7"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7"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72129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52247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09440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9459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C4C12-FA74-AADA-3E3B-0D706B76D3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DE1101-5996-AA35-6F6B-9B6C193D9D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445F2D-3614-22D7-A86B-11920FD901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8B5DA7-E6FC-341D-3F64-D21BE8899EFE}"/>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6" name="Footer Placeholder 5">
            <a:extLst>
              <a:ext uri="{FF2B5EF4-FFF2-40B4-BE49-F238E27FC236}">
                <a16:creationId xmlns:a16="http://schemas.microsoft.com/office/drawing/2014/main" id="{F7BC4A4D-80F1-D94E-5868-119BD795B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F8EB8-6958-DBD2-F78D-A0ED9EBC315F}"/>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585465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22870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3267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198" b="0" i="0" spc="-50" baseline="0">
                <a:solidFill>
                  <a:schemeClr val="tx2"/>
                </a:solidFill>
                <a:latin typeface="Zebra Sans Cnd ExtraBold" pitchFamily="2" charset="77"/>
              </a:defRPr>
            </a:lvl2pPr>
            <a:lvl3pPr marL="165050" indent="-165050">
              <a:spcBef>
                <a:spcPts val="600"/>
              </a:spcBef>
              <a:tabLst/>
              <a:defRPr>
                <a:solidFill>
                  <a:schemeClr val="tx1"/>
                </a:solidFill>
              </a:defRPr>
            </a:lvl3pPr>
            <a:lvl4pPr marL="165050" indent="-165050">
              <a:spcBef>
                <a:spcPts val="600"/>
              </a:spcBef>
              <a:tabLst/>
              <a:defRPr>
                <a:solidFill>
                  <a:schemeClr val="tx1"/>
                </a:solidFill>
              </a:defRPr>
            </a:lvl4pPr>
            <a:lvl5pPr marL="165050" indent="-16505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21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4401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20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198" b="0" i="0" spc="-50" baseline="0">
                <a:solidFill>
                  <a:schemeClr val="bg1"/>
                </a:solidFill>
                <a:latin typeface="Zebra Sans Cnd ExtraBold" pitchFamily="2" charset="77"/>
              </a:defRPr>
            </a:lvl2pPr>
            <a:lvl3pPr marL="165050" indent="-165050">
              <a:spcBef>
                <a:spcPts val="600"/>
              </a:spcBef>
              <a:tabLst/>
              <a:defRPr>
                <a:solidFill>
                  <a:schemeClr val="bg1"/>
                </a:solidFill>
              </a:defRPr>
            </a:lvl3pPr>
            <a:lvl4pPr marL="165050" indent="-165050">
              <a:spcBef>
                <a:spcPts val="600"/>
              </a:spcBef>
              <a:tabLst/>
              <a:defRPr>
                <a:solidFill>
                  <a:schemeClr val="bg1"/>
                </a:solidFill>
              </a:defRPr>
            </a:lvl4pPr>
            <a:lvl5pPr marL="165050" indent="-16505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353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72817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7"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1" y="556013"/>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94622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7"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26799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A9534-444F-6C2B-67CF-7B217566BC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11AD4B-B718-2147-D699-165DE99D30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241434-740B-44EE-1C57-4EBDCBACCC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A42B61-E6FB-ED8F-2382-EECF4544FB47}"/>
              </a:ext>
            </a:extLst>
          </p:cNvPr>
          <p:cNvSpPr>
            <a:spLocks noGrp="1"/>
          </p:cNvSpPr>
          <p:nvPr>
            <p:ph type="dt" sz="half" idx="10"/>
          </p:nvPr>
        </p:nvSpPr>
        <p:spPr/>
        <p:txBody>
          <a:bodyPr/>
          <a:lstStyle/>
          <a:p>
            <a:fld id="{2369E63B-53DD-450E-9927-4744B60BF8E4}" type="datetimeFigureOut">
              <a:rPr lang="en-US" smtClean="0"/>
              <a:t>4/15/2026</a:t>
            </a:fld>
            <a:endParaRPr lang="en-US"/>
          </a:p>
        </p:txBody>
      </p:sp>
      <p:sp>
        <p:nvSpPr>
          <p:cNvPr id="6" name="Footer Placeholder 5">
            <a:extLst>
              <a:ext uri="{FF2B5EF4-FFF2-40B4-BE49-F238E27FC236}">
                <a16:creationId xmlns:a16="http://schemas.microsoft.com/office/drawing/2014/main" id="{849552FF-909E-AF81-7391-6AD5EFF49D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1599-CA96-CA94-7074-8A863F0E9ED6}"/>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290278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8"/>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61475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6"/>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1" y="556013"/>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4030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48" indent="0" algn="ctr">
              <a:lnSpc>
                <a:spcPct val="90000"/>
              </a:lnSpc>
              <a:spcBef>
                <a:spcPts val="600"/>
              </a:spcBef>
              <a:buNone/>
              <a:defRPr sz="1000">
                <a:solidFill>
                  <a:schemeClr val="tx1">
                    <a:lumMod val="75000"/>
                    <a:lumOff val="25000"/>
                  </a:schemeClr>
                </a:solidFill>
              </a:defRPr>
            </a:lvl2pPr>
            <a:lvl3pPr marL="172985" indent="0" algn="ctr">
              <a:buNone/>
              <a:defRPr>
                <a:solidFill>
                  <a:schemeClr val="bg1"/>
                </a:solidFill>
              </a:defRPr>
            </a:lvl3pPr>
            <a:lvl4pPr marL="345971" indent="0" algn="ctr">
              <a:buNone/>
              <a:defRPr>
                <a:solidFill>
                  <a:schemeClr val="bg1"/>
                </a:solidFill>
              </a:defRPr>
            </a:lvl4pPr>
            <a:lvl5pPr marL="345971"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4"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1"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504456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5"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3"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2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4"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6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3279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7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80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6"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6" y="2980329"/>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6" y="4230626"/>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5" y="518885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1" y="1664874"/>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8" y="1966762"/>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9" y="2273650"/>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80"/>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2" y="3249802"/>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4"/>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5" y="4192777"/>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5" y="4500099"/>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8"/>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40"/>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75141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4"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6"/>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80"/>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9"/>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200" y="5258096"/>
            <a:ext cx="2929468"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174004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1"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8"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57375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3"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40"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8939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22694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8"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48481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84" Type="http://schemas.openxmlformats.org/officeDocument/2006/relationships/theme" Target="../theme/theme3.xml"/><Relationship Id="rId16" Type="http://schemas.openxmlformats.org/officeDocument/2006/relationships/slideLayout" Target="../slideLayouts/slideLayout47.xml"/><Relationship Id="rId11" Type="http://schemas.openxmlformats.org/officeDocument/2006/relationships/slideLayout" Target="../slideLayouts/slideLayout42.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74" Type="http://schemas.openxmlformats.org/officeDocument/2006/relationships/slideLayout" Target="../slideLayouts/slideLayout105.xml"/><Relationship Id="rId79" Type="http://schemas.openxmlformats.org/officeDocument/2006/relationships/slideLayout" Target="../slideLayouts/slideLayout110.xml"/><Relationship Id="rId5" Type="http://schemas.openxmlformats.org/officeDocument/2006/relationships/slideLayout" Target="../slideLayouts/slideLayout36.xml"/><Relationship Id="rId61" Type="http://schemas.openxmlformats.org/officeDocument/2006/relationships/slideLayout" Target="../slideLayouts/slideLayout92.xml"/><Relationship Id="rId82" Type="http://schemas.openxmlformats.org/officeDocument/2006/relationships/slideLayout" Target="../slideLayouts/slideLayout113.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77" Type="http://schemas.openxmlformats.org/officeDocument/2006/relationships/slideLayout" Target="../slideLayouts/slideLayout108.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80" Type="http://schemas.openxmlformats.org/officeDocument/2006/relationships/slideLayout" Target="../slideLayouts/slideLayout111.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70" Type="http://schemas.openxmlformats.org/officeDocument/2006/relationships/slideLayout" Target="../slideLayouts/slideLayout101.xml"/><Relationship Id="rId75" Type="http://schemas.openxmlformats.org/officeDocument/2006/relationships/slideLayout" Target="../slideLayouts/slideLayout106.xml"/><Relationship Id="rId83" Type="http://schemas.openxmlformats.org/officeDocument/2006/relationships/slideLayout" Target="../slideLayouts/slideLayout11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78" Type="http://schemas.openxmlformats.org/officeDocument/2006/relationships/slideLayout" Target="../slideLayouts/slideLayout109.xml"/><Relationship Id="rId81" Type="http://schemas.openxmlformats.org/officeDocument/2006/relationships/slideLayout" Target="../slideLayouts/slideLayout11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slideLayout" Target="../slideLayouts/slideLayout107.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2" Type="http://schemas.openxmlformats.org/officeDocument/2006/relationships/slideLayout" Target="../slideLayouts/slideLayout33.xml"/><Relationship Id="rId29" Type="http://schemas.openxmlformats.org/officeDocument/2006/relationships/slideLayout" Target="../slideLayouts/slideLayout60.xml"/><Relationship Id="rId24" Type="http://schemas.openxmlformats.org/officeDocument/2006/relationships/slideLayout" Target="../slideLayouts/slideLayout55.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66"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40.xml"/><Relationship Id="rId21" Type="http://schemas.openxmlformats.org/officeDocument/2006/relationships/slideLayout" Target="../slideLayouts/slideLayout135.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63" Type="http://schemas.openxmlformats.org/officeDocument/2006/relationships/slideLayout" Target="../slideLayouts/slideLayout177.xml"/><Relationship Id="rId68" Type="http://schemas.openxmlformats.org/officeDocument/2006/relationships/slideLayout" Target="../slideLayouts/slideLayout182.xml"/><Relationship Id="rId84" Type="http://schemas.openxmlformats.org/officeDocument/2006/relationships/theme" Target="../theme/theme4.xml"/><Relationship Id="rId16" Type="http://schemas.openxmlformats.org/officeDocument/2006/relationships/slideLayout" Target="../slideLayouts/slideLayout130.xml"/><Relationship Id="rId11" Type="http://schemas.openxmlformats.org/officeDocument/2006/relationships/slideLayout" Target="../slideLayouts/slideLayout125.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53" Type="http://schemas.openxmlformats.org/officeDocument/2006/relationships/slideLayout" Target="../slideLayouts/slideLayout167.xml"/><Relationship Id="rId58" Type="http://schemas.openxmlformats.org/officeDocument/2006/relationships/slideLayout" Target="../slideLayouts/slideLayout172.xml"/><Relationship Id="rId74" Type="http://schemas.openxmlformats.org/officeDocument/2006/relationships/slideLayout" Target="../slideLayouts/slideLayout188.xml"/><Relationship Id="rId79" Type="http://schemas.openxmlformats.org/officeDocument/2006/relationships/slideLayout" Target="../slideLayouts/slideLayout193.xml"/><Relationship Id="rId5" Type="http://schemas.openxmlformats.org/officeDocument/2006/relationships/slideLayout" Target="../slideLayouts/slideLayout119.xml"/><Relationship Id="rId61" Type="http://schemas.openxmlformats.org/officeDocument/2006/relationships/slideLayout" Target="../slideLayouts/slideLayout175.xml"/><Relationship Id="rId82" Type="http://schemas.openxmlformats.org/officeDocument/2006/relationships/slideLayout" Target="../slideLayouts/slideLayout196.xml"/><Relationship Id="rId19" Type="http://schemas.openxmlformats.org/officeDocument/2006/relationships/slideLayout" Target="../slideLayouts/slideLayout13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56" Type="http://schemas.openxmlformats.org/officeDocument/2006/relationships/slideLayout" Target="../slideLayouts/slideLayout170.xml"/><Relationship Id="rId64" Type="http://schemas.openxmlformats.org/officeDocument/2006/relationships/slideLayout" Target="../slideLayouts/slideLayout178.xml"/><Relationship Id="rId69" Type="http://schemas.openxmlformats.org/officeDocument/2006/relationships/slideLayout" Target="../slideLayouts/slideLayout183.xml"/><Relationship Id="rId77" Type="http://schemas.openxmlformats.org/officeDocument/2006/relationships/slideLayout" Target="../slideLayouts/slideLayout191.xml"/><Relationship Id="rId8" Type="http://schemas.openxmlformats.org/officeDocument/2006/relationships/slideLayout" Target="../slideLayouts/slideLayout122.xml"/><Relationship Id="rId51" Type="http://schemas.openxmlformats.org/officeDocument/2006/relationships/slideLayout" Target="../slideLayouts/slideLayout165.xml"/><Relationship Id="rId72" Type="http://schemas.openxmlformats.org/officeDocument/2006/relationships/slideLayout" Target="../slideLayouts/slideLayout186.xml"/><Relationship Id="rId80" Type="http://schemas.openxmlformats.org/officeDocument/2006/relationships/slideLayout" Target="../slideLayouts/slideLayout194.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59" Type="http://schemas.openxmlformats.org/officeDocument/2006/relationships/slideLayout" Target="../slideLayouts/slideLayout173.xml"/><Relationship Id="rId67" Type="http://schemas.openxmlformats.org/officeDocument/2006/relationships/slideLayout" Target="../slideLayouts/slideLayout181.xml"/><Relationship Id="rId20" Type="http://schemas.openxmlformats.org/officeDocument/2006/relationships/slideLayout" Target="../slideLayouts/slideLayout134.xml"/><Relationship Id="rId41" Type="http://schemas.openxmlformats.org/officeDocument/2006/relationships/slideLayout" Target="../slideLayouts/slideLayout155.xml"/><Relationship Id="rId54" Type="http://schemas.openxmlformats.org/officeDocument/2006/relationships/slideLayout" Target="../slideLayouts/slideLayout168.xml"/><Relationship Id="rId62" Type="http://schemas.openxmlformats.org/officeDocument/2006/relationships/slideLayout" Target="../slideLayouts/slideLayout176.xml"/><Relationship Id="rId70" Type="http://schemas.openxmlformats.org/officeDocument/2006/relationships/slideLayout" Target="../slideLayouts/slideLayout184.xml"/><Relationship Id="rId75" Type="http://schemas.openxmlformats.org/officeDocument/2006/relationships/slideLayout" Target="../slideLayouts/slideLayout189.xml"/><Relationship Id="rId83" Type="http://schemas.openxmlformats.org/officeDocument/2006/relationships/slideLayout" Target="../slideLayouts/slideLayout197.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57" Type="http://schemas.openxmlformats.org/officeDocument/2006/relationships/slideLayout" Target="../slideLayouts/slideLayout171.xml"/><Relationship Id="rId10" Type="http://schemas.openxmlformats.org/officeDocument/2006/relationships/slideLayout" Target="../slideLayouts/slideLayout124.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60" Type="http://schemas.openxmlformats.org/officeDocument/2006/relationships/slideLayout" Target="../slideLayouts/slideLayout174.xml"/><Relationship Id="rId65" Type="http://schemas.openxmlformats.org/officeDocument/2006/relationships/slideLayout" Target="../slideLayouts/slideLayout179.xml"/><Relationship Id="rId73" Type="http://schemas.openxmlformats.org/officeDocument/2006/relationships/slideLayout" Target="../slideLayouts/slideLayout187.xml"/><Relationship Id="rId78" Type="http://schemas.openxmlformats.org/officeDocument/2006/relationships/slideLayout" Target="../slideLayouts/slideLayout192.xml"/><Relationship Id="rId81" Type="http://schemas.openxmlformats.org/officeDocument/2006/relationships/slideLayout" Target="../slideLayouts/slideLayout19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9" Type="http://schemas.openxmlformats.org/officeDocument/2006/relationships/slideLayout" Target="../slideLayouts/slideLayout153.xml"/><Relationship Id="rId34" Type="http://schemas.openxmlformats.org/officeDocument/2006/relationships/slideLayout" Target="../slideLayouts/slideLayout148.xml"/><Relationship Id="rId50" Type="http://schemas.openxmlformats.org/officeDocument/2006/relationships/slideLayout" Target="../slideLayouts/slideLayout164.xml"/><Relationship Id="rId55" Type="http://schemas.openxmlformats.org/officeDocument/2006/relationships/slideLayout" Target="../slideLayouts/slideLayout169.xml"/><Relationship Id="rId76" Type="http://schemas.openxmlformats.org/officeDocument/2006/relationships/slideLayout" Target="../slideLayouts/slideLayout190.xml"/><Relationship Id="rId7" Type="http://schemas.openxmlformats.org/officeDocument/2006/relationships/slideLayout" Target="../slideLayouts/slideLayout121.xml"/><Relationship Id="rId71" Type="http://schemas.openxmlformats.org/officeDocument/2006/relationships/slideLayout" Target="../slideLayouts/slideLayout185.xml"/><Relationship Id="rId2" Type="http://schemas.openxmlformats.org/officeDocument/2006/relationships/slideLayout" Target="../slideLayouts/slideLayout116.xml"/><Relationship Id="rId29" Type="http://schemas.openxmlformats.org/officeDocument/2006/relationships/slideLayout" Target="../slideLayouts/slideLayout143.xml"/><Relationship Id="rId24" Type="http://schemas.openxmlformats.org/officeDocument/2006/relationships/slideLayout" Target="../slideLayouts/slideLayout138.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66"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E92D6C-B9EE-CB6A-B7B0-CB72149E85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0B1D6D-161C-D25A-D819-DD57E36FD2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B67908-3A0C-ABE6-03E6-C464DDEB120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69E63B-53DD-450E-9927-4744B60BF8E4}" type="datetimeFigureOut">
              <a:rPr lang="en-US" smtClean="0"/>
              <a:t>4/15/2026</a:t>
            </a:fld>
            <a:endParaRPr lang="en-US"/>
          </a:p>
        </p:txBody>
      </p:sp>
      <p:sp>
        <p:nvSpPr>
          <p:cNvPr id="5" name="Footer Placeholder 4">
            <a:extLst>
              <a:ext uri="{FF2B5EF4-FFF2-40B4-BE49-F238E27FC236}">
                <a16:creationId xmlns:a16="http://schemas.microsoft.com/office/drawing/2014/main" id="{5C829AD6-04CC-2E83-764B-5225587E3B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5B46E83-F6CE-73F2-6B49-A923EF87E9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41145F1-40E7-488D-AF47-BC8DBF449F6C}" type="slidenum">
              <a:rPr lang="en-US" smtClean="0"/>
              <a:t>‹#›</a:t>
            </a:fld>
            <a:endParaRPr lang="en-US"/>
          </a:p>
        </p:txBody>
      </p:sp>
    </p:spTree>
    <p:extLst>
      <p:ext uri="{BB962C8B-B14F-4D97-AF65-F5344CB8AC3E}">
        <p14:creationId xmlns:p14="http://schemas.microsoft.com/office/powerpoint/2010/main" val="30059709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503" y="1517904"/>
            <a:ext cx="10983072" cy="868680"/>
          </a:xfrm>
          <a:prstGeom prst="rect">
            <a:avLst/>
          </a:prstGeom>
        </p:spPr>
        <p:txBody>
          <a:bodyPr vert="horz" lIns="0" tIns="0" rIns="0" bIns="0" rtlCol="0" anchor="t" anchorCtr="0">
            <a:noAutofit/>
          </a:bodyPr>
          <a:lstStyle/>
          <a:p>
            <a:r>
              <a:rPr lang="en-US"/>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505" y="2542784"/>
            <a:ext cx="10983071" cy="1578281"/>
          </a:xfrm>
          <a:prstGeom prst="rect">
            <a:avLst/>
          </a:prstGeom>
        </p:spPr>
        <p:txBody>
          <a:bodyPr vert="horz" lIns="0" tIns="0" rIns="0" bIns="0" rtlCol="0">
            <a:noAutofit/>
          </a:bodyPr>
          <a:lstStyle/>
          <a:p>
            <a:pPr lvl="0"/>
            <a:r>
              <a:rPr lang="en-US"/>
              <a:t>Click to enter text</a:t>
            </a:r>
          </a:p>
          <a:p>
            <a:pPr lvl="1"/>
            <a:r>
              <a:rPr lang="en-US"/>
              <a:t>Second level</a:t>
            </a:r>
          </a:p>
          <a:p>
            <a:pPr lvl="2"/>
            <a:r>
              <a:rPr lang="en-US"/>
              <a:t>Third level</a:t>
            </a:r>
          </a:p>
        </p:txBody>
      </p:sp>
    </p:spTree>
    <p:extLst>
      <p:ext uri="{BB962C8B-B14F-4D97-AF65-F5344CB8AC3E}">
        <p14:creationId xmlns:p14="http://schemas.microsoft.com/office/powerpoint/2010/main" val="349174164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849" r:id="rId18"/>
    <p:sldLayoutId id="2147483850" r:id="rId19"/>
  </p:sldLayoutIdLst>
  <p:hf hdr="0" ft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1775"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1" y="556013"/>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200"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4/15/2026</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200"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313535246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1" r:id="rId50"/>
    <p:sldLayoutId id="2147483732" r:id="rId51"/>
    <p:sldLayoutId id="2147483733" r:id="rId52"/>
    <p:sldLayoutId id="2147483734" r:id="rId53"/>
    <p:sldLayoutId id="2147483735" r:id="rId54"/>
    <p:sldLayoutId id="2147483736" r:id="rId55"/>
    <p:sldLayoutId id="2147483737" r:id="rId56"/>
    <p:sldLayoutId id="2147483738" r:id="rId57"/>
    <p:sldLayoutId id="2147483739" r:id="rId58"/>
    <p:sldLayoutId id="2147483740" r:id="rId59"/>
    <p:sldLayoutId id="2147483741" r:id="rId60"/>
    <p:sldLayoutId id="2147483742" r:id="rId61"/>
    <p:sldLayoutId id="2147483743" r:id="rId62"/>
    <p:sldLayoutId id="2147483744" r:id="rId63"/>
    <p:sldLayoutId id="2147483745" r:id="rId64"/>
    <p:sldLayoutId id="2147483746" r:id="rId65"/>
    <p:sldLayoutId id="2147483747" r:id="rId66"/>
    <p:sldLayoutId id="2147483748" r:id="rId67"/>
    <p:sldLayoutId id="2147483749" r:id="rId68"/>
    <p:sldLayoutId id="2147483750" r:id="rId69"/>
    <p:sldLayoutId id="2147483751" r:id="rId70"/>
    <p:sldLayoutId id="2147483752" r:id="rId71"/>
    <p:sldLayoutId id="2147483753" r:id="rId72"/>
    <p:sldLayoutId id="2147483754" r:id="rId73"/>
    <p:sldLayoutId id="2147483755" r:id="rId74"/>
    <p:sldLayoutId id="2147483756" r:id="rId75"/>
    <p:sldLayoutId id="2147483757" r:id="rId76"/>
    <p:sldLayoutId id="2147483758" r:id="rId77"/>
    <p:sldLayoutId id="2147483759" r:id="rId78"/>
    <p:sldLayoutId id="2147483760" r:id="rId79"/>
    <p:sldLayoutId id="2147483761" r:id="rId80"/>
    <p:sldLayoutId id="2147483762" r:id="rId81"/>
    <p:sldLayoutId id="2147483763" r:id="rId82"/>
    <p:sldLayoutId id="2147483764"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26" rtl="0" eaLnBrk="1" latinLnBrk="0" hangingPunct="1">
        <a:lnSpc>
          <a:spcPct val="90000"/>
        </a:lnSpc>
        <a:spcBef>
          <a:spcPct val="0"/>
        </a:spcBef>
        <a:buNone/>
        <a:defRPr sz="3199" b="0" i="0" kern="1200" spc="0" baseline="0">
          <a:solidFill>
            <a:schemeClr val="tx1"/>
          </a:solidFill>
          <a:latin typeface="Zebra Sans Cnd ExtraBold" pitchFamily="2" charset="77"/>
          <a:ea typeface="+mj-ea"/>
          <a:cs typeface="+mj-cs"/>
        </a:defRPr>
      </a:lvl1pPr>
    </p:titleStyle>
    <p:body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0" y="556011"/>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199"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4/15/2026</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199"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281853064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 id="2147483810" r:id="rId45"/>
    <p:sldLayoutId id="2147483811" r:id="rId46"/>
    <p:sldLayoutId id="2147483812" r:id="rId47"/>
    <p:sldLayoutId id="2147483813" r:id="rId48"/>
    <p:sldLayoutId id="2147483814" r:id="rId49"/>
    <p:sldLayoutId id="2147483815" r:id="rId50"/>
    <p:sldLayoutId id="2147483816" r:id="rId51"/>
    <p:sldLayoutId id="2147483817" r:id="rId52"/>
    <p:sldLayoutId id="2147483818" r:id="rId53"/>
    <p:sldLayoutId id="2147483819" r:id="rId54"/>
    <p:sldLayoutId id="2147483820" r:id="rId55"/>
    <p:sldLayoutId id="2147483821" r:id="rId56"/>
    <p:sldLayoutId id="2147483822" r:id="rId57"/>
    <p:sldLayoutId id="2147483823" r:id="rId58"/>
    <p:sldLayoutId id="2147483824" r:id="rId59"/>
    <p:sldLayoutId id="2147483825" r:id="rId60"/>
    <p:sldLayoutId id="2147483826" r:id="rId61"/>
    <p:sldLayoutId id="2147483827" r:id="rId62"/>
    <p:sldLayoutId id="2147483828" r:id="rId63"/>
    <p:sldLayoutId id="2147483829" r:id="rId64"/>
    <p:sldLayoutId id="2147483830" r:id="rId65"/>
    <p:sldLayoutId id="2147483831" r:id="rId66"/>
    <p:sldLayoutId id="2147483832" r:id="rId67"/>
    <p:sldLayoutId id="2147483833" r:id="rId68"/>
    <p:sldLayoutId id="2147483834" r:id="rId69"/>
    <p:sldLayoutId id="2147483835" r:id="rId70"/>
    <p:sldLayoutId id="2147483836" r:id="rId71"/>
    <p:sldLayoutId id="2147483837" r:id="rId72"/>
    <p:sldLayoutId id="2147483838" r:id="rId73"/>
    <p:sldLayoutId id="2147483839" r:id="rId74"/>
    <p:sldLayoutId id="2147483840" r:id="rId75"/>
    <p:sldLayoutId id="2147483841" r:id="rId76"/>
    <p:sldLayoutId id="2147483842" r:id="rId77"/>
    <p:sldLayoutId id="2147483843" r:id="rId78"/>
    <p:sldLayoutId id="2147483844" r:id="rId79"/>
    <p:sldLayoutId id="2147483845" r:id="rId80"/>
    <p:sldLayoutId id="2147483846" r:id="rId81"/>
    <p:sldLayoutId id="2147483847" r:id="rId82"/>
    <p:sldLayoutId id="2147483848"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2200" b="0" i="0" kern="1200">
          <a:solidFill>
            <a:schemeClr val="tx1"/>
          </a:solidFill>
          <a:latin typeface="Zebra Sans" pitchFamily="2" charset="77"/>
          <a:ea typeface="+mn-ea"/>
          <a:cs typeface="+mn-cs"/>
        </a:defRPr>
      </a:lvl1pPr>
      <a:lvl2pPr marL="173038" indent="-173038" algn="l" defTabSz="914400" rtl="0" eaLnBrk="1" latinLnBrk="0" hangingPunct="1">
        <a:lnSpc>
          <a:spcPct val="100000"/>
        </a:lnSpc>
        <a:spcBef>
          <a:spcPts val="900"/>
        </a:spcBef>
        <a:buFont typeface="Arial" panose="020B0604020202020204" pitchFamily="34" charset="0"/>
        <a:buChar char="•"/>
        <a:tabLst/>
        <a:defRPr sz="2000" b="0" i="0" kern="1200">
          <a:solidFill>
            <a:schemeClr val="tx1"/>
          </a:solidFill>
          <a:latin typeface="Zebra Sans" pitchFamily="2" charset="77"/>
          <a:ea typeface="+mn-ea"/>
          <a:cs typeface="+mn-cs"/>
        </a:defRPr>
      </a:lvl2pPr>
      <a:lvl3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375" indent="-117475" algn="l" defTabSz="914400"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1800" indent="-512763" algn="l" defTabSz="914400"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9000" indent="-2511425"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26.pn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55.xml"/><Relationship Id="rId5" Type="http://schemas.openxmlformats.org/officeDocument/2006/relationships/image" Target="../media/image37.sv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55.xml"/><Relationship Id="rId5" Type="http://schemas.openxmlformats.org/officeDocument/2006/relationships/image" Target="../media/image35.sv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55.xml"/><Relationship Id="rId5" Type="http://schemas.openxmlformats.org/officeDocument/2006/relationships/image" Target="../media/image33.sv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5.xml"/><Relationship Id="rId5" Type="http://schemas.openxmlformats.org/officeDocument/2006/relationships/image" Target="../media/image31.sv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15.xml"/><Relationship Id="rId1" Type="http://schemas.openxmlformats.org/officeDocument/2006/relationships/slideLayout" Target="../slideLayouts/slideLayout55.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55.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5.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55.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55.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27.xml"/><Relationship Id="rId1" Type="http://schemas.openxmlformats.org/officeDocument/2006/relationships/slideLayout" Target="../slideLayouts/slideLayout55.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55.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5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57.svg"/><Relationship Id="rId2" Type="http://schemas.openxmlformats.org/officeDocument/2006/relationships/notesSlide" Target="../notesSlides/notesSlide34.xml"/><Relationship Id="rId1" Type="http://schemas.openxmlformats.org/officeDocument/2006/relationships/slideLayout" Target="../slideLayouts/slideLayout55.xml"/><Relationship Id="rId6" Type="http://schemas.openxmlformats.org/officeDocument/2006/relationships/image" Target="../media/image56.png"/><Relationship Id="rId5" Type="http://schemas.openxmlformats.org/officeDocument/2006/relationships/image" Target="../media/image61.png"/><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57.svg"/><Relationship Id="rId2" Type="http://schemas.openxmlformats.org/officeDocument/2006/relationships/notesSlide" Target="../notesSlides/notesSlide35.xml"/><Relationship Id="rId1" Type="http://schemas.openxmlformats.org/officeDocument/2006/relationships/slideLayout" Target="../slideLayouts/slideLayout55.xml"/><Relationship Id="rId6" Type="http://schemas.openxmlformats.org/officeDocument/2006/relationships/image" Target="../media/image56.png"/><Relationship Id="rId5" Type="http://schemas.openxmlformats.org/officeDocument/2006/relationships/image" Target="../media/image64.png"/><Relationship Id="rId4" Type="http://schemas.openxmlformats.org/officeDocument/2006/relationships/image" Target="../media/image63.png"/></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6.xml"/><Relationship Id="rId1" Type="http://schemas.openxmlformats.org/officeDocument/2006/relationships/slideLayout" Target="../slideLayouts/slideLayout5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6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9.xml"/><Relationship Id="rId1" Type="http://schemas.openxmlformats.org/officeDocument/2006/relationships/slideLayout" Target="../slideLayouts/slideLayout31.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5.xml"/><Relationship Id="rId5" Type="http://schemas.openxmlformats.org/officeDocument/2006/relationships/image" Target="../media/image26.png"/><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3.xml"/><Relationship Id="rId1" Type="http://schemas.openxmlformats.org/officeDocument/2006/relationships/slideLayout" Target="../slideLayouts/slideLayout31.xml"/><Relationship Id="rId4" Type="http://schemas.openxmlformats.org/officeDocument/2006/relationships/image" Target="../media/image69.png"/></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4.xml"/><Relationship Id="rId1" Type="http://schemas.openxmlformats.org/officeDocument/2006/relationships/slideLayout" Target="../slideLayouts/slideLayout31.xml"/><Relationship Id="rId5" Type="http://schemas.openxmlformats.org/officeDocument/2006/relationships/image" Target="../media/image40.png"/><Relationship Id="rId4" Type="http://schemas.openxmlformats.org/officeDocument/2006/relationships/image" Target="../media/image70.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hyperlink" Target="https://www.zebra.com/us/en/support-downloads/eula/unrestricted-eula.html" TargetMode="External"/><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3" Type="http://schemas.openxmlformats.org/officeDocument/2006/relationships/hyperlink" Target="http://www.impinj.com/Gen2X" TargetMode="External"/><Relationship Id="rId2" Type="http://schemas.openxmlformats.org/officeDocument/2006/relationships/notesSlide" Target="../notesSlides/notesSlide7.xml"/><Relationship Id="rId1" Type="http://schemas.openxmlformats.org/officeDocument/2006/relationships/slideLayout" Target="../slideLayouts/slideLayout55.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55.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93C03-84D8-7199-AD76-D82919C8F7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E89ACB8-6045-8661-72B7-79512C137070}"/>
              </a:ext>
            </a:extLst>
          </p:cNvPr>
          <p:cNvSpPr>
            <a:spLocks noGrp="1"/>
          </p:cNvSpPr>
          <p:nvPr>
            <p:ph type="ctrTitle"/>
          </p:nvPr>
        </p:nvSpPr>
        <p:spPr>
          <a:xfrm>
            <a:off x="458668" y="2996264"/>
            <a:ext cx="10717331" cy="1878936"/>
          </a:xfrm>
        </p:spPr>
        <p:txBody>
          <a:bodyPr>
            <a:normAutofit fontScale="90000"/>
          </a:bodyPr>
          <a:lstStyle/>
          <a:p>
            <a:r>
              <a:rPr lang="en-US" dirty="0"/>
              <a:t>Zebra RFID + Impinj Gen2X</a:t>
            </a:r>
            <a:br>
              <a:rPr lang="en-US" dirty="0"/>
            </a:br>
            <a:r>
              <a:rPr lang="en-US" dirty="0"/>
              <a:t>Android Sample App User Guide</a:t>
            </a:r>
          </a:p>
        </p:txBody>
      </p:sp>
      <p:sp>
        <p:nvSpPr>
          <p:cNvPr id="5" name="Subtitle 4">
            <a:extLst>
              <a:ext uri="{FF2B5EF4-FFF2-40B4-BE49-F238E27FC236}">
                <a16:creationId xmlns:a16="http://schemas.microsoft.com/office/drawing/2014/main" id="{ECD9FFC0-69E7-0817-8BAA-EA2318FEFB6F}"/>
              </a:ext>
            </a:extLst>
          </p:cNvPr>
          <p:cNvSpPr>
            <a:spLocks noGrp="1"/>
          </p:cNvSpPr>
          <p:nvPr>
            <p:ph type="subTitle" idx="1"/>
          </p:nvPr>
        </p:nvSpPr>
        <p:spPr/>
        <p:txBody>
          <a:bodyPr>
            <a:normAutofit lnSpcReduction="10000"/>
          </a:bodyPr>
          <a:lstStyle/>
          <a:p>
            <a:endParaRPr lang="en-US" dirty="0"/>
          </a:p>
        </p:txBody>
      </p:sp>
    </p:spTree>
    <p:extLst>
      <p:ext uri="{BB962C8B-B14F-4D97-AF65-F5344CB8AC3E}">
        <p14:creationId xmlns:p14="http://schemas.microsoft.com/office/powerpoint/2010/main" val="1519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B631A-BF2D-13C4-1AA9-9C84815A8F5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703B727-C0A0-A76B-F210-9A9173093A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9B76542-659B-DB45-9528-A77770A8134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4038140-58E5-1624-2587-0267AE9871F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1637E8A-B51D-0FFB-05B0-46D613941EDF}"/>
              </a:ext>
            </a:extLst>
          </p:cNvPr>
          <p:cNvSpPr txBox="1">
            <a:spLocks/>
          </p:cNvSpPr>
          <p:nvPr/>
        </p:nvSpPr>
        <p:spPr>
          <a:xfrm>
            <a:off x="455732" y="1483432"/>
            <a:ext cx="773029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The Inventory screen can be used to read tags and compare behaviors/performance using different configurations and features.  This screen can be used both for standard Gen2v2 tag inventory as well as demonstrating and testing Gen2X features.  This section describes general features of the screen – please refer to specific feature sections for detailed instructions for each feature.</a:t>
            </a:r>
          </a:p>
          <a:p>
            <a:pPr>
              <a:spcBef>
                <a:spcPts val="2400"/>
              </a:spcBef>
            </a:pPr>
            <a:r>
              <a:rPr lang="en-US" sz="1400" dirty="0"/>
              <a:t>This screen has 4 areas:</a:t>
            </a:r>
          </a:p>
          <a:p>
            <a:pPr>
              <a:spcBef>
                <a:spcPts val="2400"/>
              </a:spcBef>
            </a:pPr>
            <a:r>
              <a:rPr lang="en-US" sz="1400" dirty="0"/>
              <a:t>                     Icon for total read rate (total read / total time). </a:t>
            </a:r>
          </a:p>
          <a:p>
            <a:pPr>
              <a:spcBef>
                <a:spcPts val="2400"/>
              </a:spcBef>
            </a:pPr>
            <a:r>
              <a:rPr lang="en-US" sz="1400" dirty="0"/>
              <a:t>            Gen2X Feature Options – enable/disable options, Quiet timer</a:t>
            </a:r>
          </a:p>
          <a:p>
            <a:pPr>
              <a:spcBef>
                <a:spcPts val="2400"/>
              </a:spcBef>
            </a:pPr>
            <a:r>
              <a:rPr lang="en-US" sz="1400" dirty="0"/>
              <a:t>            Inventory Tag Display – display read tags including count, RSSI and read/sec</a:t>
            </a:r>
          </a:p>
          <a:p>
            <a:pPr>
              <a:spcBef>
                <a:spcPts val="2400"/>
              </a:spcBef>
            </a:pPr>
            <a:r>
              <a:rPr lang="en-US" sz="1400" dirty="0"/>
              <a:t>            Inventory Summary Bar  - inventory stop timer and counts by category</a:t>
            </a:r>
          </a:p>
          <a:p>
            <a:pPr>
              <a:spcBef>
                <a:spcPts val="2400"/>
              </a:spcBef>
            </a:pPr>
            <a:r>
              <a:rPr lang="en-US" sz="1400" dirty="0"/>
              <a:t>            Unique Tags Bar (including Start/Stop and Clear) – timer, unique tag count and tags/10s</a:t>
            </a:r>
          </a:p>
          <a:p>
            <a:pPr>
              <a:spcBef>
                <a:spcPts val="2400"/>
              </a:spcBef>
            </a:pPr>
            <a:endParaRPr lang="en-US" sz="1400" dirty="0"/>
          </a:p>
          <a:p>
            <a:pPr>
              <a:spcBef>
                <a:spcPts val="2400"/>
              </a:spcBef>
            </a:pPr>
            <a:endParaRPr lang="en-US" sz="1400"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16F7A452-1A63-E752-FA25-76A7AA119FD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6900" y="929658"/>
            <a:ext cx="2561719" cy="5123438"/>
          </a:xfrm>
          <a:prstGeom prst="rect">
            <a:avLst/>
          </a:prstGeom>
        </p:spPr>
      </p:pic>
      <p:pic>
        <p:nvPicPr>
          <p:cNvPr id="8" name="Graphic 7" descr="Badge 4 with solid fill">
            <a:extLst>
              <a:ext uri="{FF2B5EF4-FFF2-40B4-BE49-F238E27FC236}">
                <a16:creationId xmlns:a16="http://schemas.microsoft.com/office/drawing/2014/main" id="{C1B8B56C-A84E-1370-B682-F909914A51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3054" y="5352620"/>
            <a:ext cx="573832" cy="573832"/>
          </a:xfrm>
          <a:prstGeom prst="rect">
            <a:avLst/>
          </a:prstGeom>
        </p:spPr>
      </p:pic>
      <p:pic>
        <p:nvPicPr>
          <p:cNvPr id="10" name="Graphic 9" descr="Badge 3 with solid fill">
            <a:extLst>
              <a:ext uri="{FF2B5EF4-FFF2-40B4-BE49-F238E27FC236}">
                <a16:creationId xmlns:a16="http://schemas.microsoft.com/office/drawing/2014/main" id="{4005F23E-B581-CE38-2C64-2499468460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8052" y="4821482"/>
            <a:ext cx="573832" cy="573832"/>
          </a:xfrm>
          <a:prstGeom prst="rect">
            <a:avLst/>
          </a:prstGeom>
        </p:spPr>
      </p:pic>
      <p:pic>
        <p:nvPicPr>
          <p:cNvPr id="12" name="Graphic 11" descr="Badge with solid fill">
            <a:extLst>
              <a:ext uri="{FF2B5EF4-FFF2-40B4-BE49-F238E27FC236}">
                <a16:creationId xmlns:a16="http://schemas.microsoft.com/office/drawing/2014/main" id="{433AFF6A-8CB6-9AA7-A84E-BE1EAB5B55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0292" y="4322934"/>
            <a:ext cx="573832" cy="573832"/>
          </a:xfrm>
          <a:prstGeom prst="rect">
            <a:avLst/>
          </a:prstGeom>
        </p:spPr>
      </p:pic>
      <p:pic>
        <p:nvPicPr>
          <p:cNvPr id="14" name="Graphic 13" descr="Badge 1 with solid fill">
            <a:extLst>
              <a:ext uri="{FF2B5EF4-FFF2-40B4-BE49-F238E27FC236}">
                <a16:creationId xmlns:a16="http://schemas.microsoft.com/office/drawing/2014/main" id="{67739AEE-2D5A-FA43-BF9E-52538BB168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0292" y="3791660"/>
            <a:ext cx="573832" cy="573832"/>
          </a:xfrm>
          <a:prstGeom prst="rect">
            <a:avLst/>
          </a:prstGeom>
        </p:spPr>
      </p:pic>
      <p:sp>
        <p:nvSpPr>
          <p:cNvPr id="16" name="Rectangle 15">
            <a:extLst>
              <a:ext uri="{FF2B5EF4-FFF2-40B4-BE49-F238E27FC236}">
                <a16:creationId xmlns:a16="http://schemas.microsoft.com/office/drawing/2014/main" id="{56C05A99-C7E4-B58C-AFA5-EF0E0DC1D695}"/>
              </a:ext>
            </a:extLst>
          </p:cNvPr>
          <p:cNvSpPr/>
          <p:nvPr/>
        </p:nvSpPr>
        <p:spPr>
          <a:xfrm>
            <a:off x="8735377" y="1483432"/>
            <a:ext cx="2564764" cy="54479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F9DDB0E3-D12B-8D0D-F60E-F114864F16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53464" y="908019"/>
            <a:ext cx="573832" cy="573832"/>
          </a:xfrm>
          <a:prstGeom prst="rect">
            <a:avLst/>
          </a:prstGeom>
        </p:spPr>
      </p:pic>
      <p:sp>
        <p:nvSpPr>
          <p:cNvPr id="17" name="Rectangle 16">
            <a:extLst>
              <a:ext uri="{FF2B5EF4-FFF2-40B4-BE49-F238E27FC236}">
                <a16:creationId xmlns:a16="http://schemas.microsoft.com/office/drawing/2014/main" id="{DA278913-7A60-B79E-A03F-D88568613D70}"/>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8" name="Rectangle 17">
            <a:extLst>
              <a:ext uri="{FF2B5EF4-FFF2-40B4-BE49-F238E27FC236}">
                <a16:creationId xmlns:a16="http://schemas.microsoft.com/office/drawing/2014/main" id="{669BAC52-65FA-7F9D-6C12-958FF4980708}"/>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9" name="Rectangle 18">
            <a:extLst>
              <a:ext uri="{FF2B5EF4-FFF2-40B4-BE49-F238E27FC236}">
                <a16:creationId xmlns:a16="http://schemas.microsoft.com/office/drawing/2014/main" id="{A8310123-F9C7-BDBD-50D2-87BF50D4B0E7}"/>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20" name="Graphic 19" descr="Badge with solid fill">
            <a:extLst>
              <a:ext uri="{FF2B5EF4-FFF2-40B4-BE49-F238E27FC236}">
                <a16:creationId xmlns:a16="http://schemas.microsoft.com/office/drawing/2014/main" id="{6207D514-33A5-609E-2249-37268C2CC71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60022" y="1546193"/>
            <a:ext cx="573832" cy="573832"/>
          </a:xfrm>
          <a:prstGeom prst="rect">
            <a:avLst/>
          </a:prstGeom>
        </p:spPr>
      </p:pic>
      <p:pic>
        <p:nvPicPr>
          <p:cNvPr id="21" name="Graphic 20" descr="Badge 3 with solid fill">
            <a:extLst>
              <a:ext uri="{FF2B5EF4-FFF2-40B4-BE49-F238E27FC236}">
                <a16:creationId xmlns:a16="http://schemas.microsoft.com/office/drawing/2014/main" id="{0EE5D614-15DA-40F3-E1EC-1069AA0564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31302" y="2228743"/>
            <a:ext cx="573832" cy="573832"/>
          </a:xfrm>
          <a:prstGeom prst="rect">
            <a:avLst/>
          </a:prstGeom>
        </p:spPr>
      </p:pic>
      <p:pic>
        <p:nvPicPr>
          <p:cNvPr id="22" name="Graphic 21" descr="Badge 4 with solid fill">
            <a:extLst>
              <a:ext uri="{FF2B5EF4-FFF2-40B4-BE49-F238E27FC236}">
                <a16:creationId xmlns:a16="http://schemas.microsoft.com/office/drawing/2014/main" id="{D9465C45-64DD-4C68-0DB3-03BC588FD0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5282" y="4795800"/>
            <a:ext cx="573832" cy="573832"/>
          </a:xfrm>
          <a:prstGeom prst="rect">
            <a:avLst/>
          </a:prstGeom>
        </p:spPr>
      </p:pic>
      <p:pic>
        <p:nvPicPr>
          <p:cNvPr id="7" name="Graphic 6" descr="Badge 5 with solid fill">
            <a:extLst>
              <a:ext uri="{FF2B5EF4-FFF2-40B4-BE49-F238E27FC236}">
                <a16:creationId xmlns:a16="http://schemas.microsoft.com/office/drawing/2014/main" id="{4713A9C3-3343-7D78-562B-4D9186CD91B2}"/>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234886" y="5246707"/>
            <a:ext cx="573832" cy="573832"/>
          </a:xfrm>
          <a:prstGeom prst="rect">
            <a:avLst/>
          </a:prstGeom>
        </p:spPr>
      </p:pic>
      <p:pic>
        <p:nvPicPr>
          <p:cNvPr id="9" name="Graphic 8" descr="Badge 5 with solid fill">
            <a:extLst>
              <a:ext uri="{FF2B5EF4-FFF2-40B4-BE49-F238E27FC236}">
                <a16:creationId xmlns:a16="http://schemas.microsoft.com/office/drawing/2014/main" id="{86DB2023-D3E8-AC91-E532-71844FB99862}"/>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393323" y="5883758"/>
            <a:ext cx="522426" cy="522426"/>
          </a:xfrm>
          <a:prstGeom prst="rect">
            <a:avLst/>
          </a:prstGeom>
        </p:spPr>
      </p:pic>
      <p:sp>
        <p:nvSpPr>
          <p:cNvPr id="23" name="Rectangle 22">
            <a:extLst>
              <a:ext uri="{FF2B5EF4-FFF2-40B4-BE49-F238E27FC236}">
                <a16:creationId xmlns:a16="http://schemas.microsoft.com/office/drawing/2014/main" id="{4063894D-34CE-80E3-865D-278E6764C507}"/>
              </a:ext>
            </a:extLst>
          </p:cNvPr>
          <p:cNvSpPr/>
          <p:nvPr/>
        </p:nvSpPr>
        <p:spPr>
          <a:xfrm>
            <a:off x="8743458" y="983981"/>
            <a:ext cx="2564764" cy="54479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25" name="Picture 24">
            <a:extLst>
              <a:ext uri="{FF2B5EF4-FFF2-40B4-BE49-F238E27FC236}">
                <a16:creationId xmlns:a16="http://schemas.microsoft.com/office/drawing/2014/main" id="{AFE6EC3A-CCD9-1A3C-6F9D-386821675222}"/>
              </a:ext>
            </a:extLst>
          </p:cNvPr>
          <p:cNvPicPr>
            <a:picLocks noChangeAspect="1"/>
          </p:cNvPicPr>
          <p:nvPr/>
        </p:nvPicPr>
        <p:blipFill>
          <a:blip r:embed="rId14"/>
          <a:stretch>
            <a:fillRect/>
          </a:stretch>
        </p:blipFill>
        <p:spPr>
          <a:xfrm>
            <a:off x="985770" y="3978249"/>
            <a:ext cx="274344" cy="266723"/>
          </a:xfrm>
          <a:prstGeom prst="rect">
            <a:avLst/>
          </a:prstGeom>
        </p:spPr>
      </p:pic>
    </p:spTree>
    <p:extLst>
      <p:ext uri="{BB962C8B-B14F-4D97-AF65-F5344CB8AC3E}">
        <p14:creationId xmlns:p14="http://schemas.microsoft.com/office/powerpoint/2010/main" val="66144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8B365-573D-E5A1-6DD5-AB82C95209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5545D17-2A0C-05AD-254E-51E7A97C4110}"/>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720FB42-393B-5C90-40DC-7CFE2530395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D8422DD-ACE2-1A49-F82D-BE8AFA42D48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A77FFD5-CB88-8980-9B83-DE29144F2CBF}"/>
              </a:ext>
            </a:extLst>
          </p:cNvPr>
          <p:cNvSpPr txBox="1">
            <a:spLocks/>
          </p:cNvSpPr>
          <p:nvPr/>
        </p:nvSpPr>
        <p:spPr>
          <a:xfrm>
            <a:off x="448508" y="1584960"/>
            <a:ext cx="7850741"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Gen2X Feature Options  </a:t>
            </a:r>
          </a:p>
          <a:p>
            <a:pPr marL="568325" lvl="1" indent="285750">
              <a:spcBef>
                <a:spcPts val="2400"/>
              </a:spcBef>
            </a:pPr>
            <a:r>
              <a:rPr lang="en-US" sz="1800" b="1" dirty="0"/>
              <a:t>Focus</a:t>
            </a:r>
            <a:r>
              <a:rPr lang="en-US" sz="1800" dirty="0"/>
              <a:t> – enables </a:t>
            </a:r>
            <a:r>
              <a:rPr lang="en-US" sz="1800" dirty="0" err="1"/>
              <a:t>TagFocus</a:t>
            </a:r>
            <a:r>
              <a:rPr lang="en-US" sz="1800" dirty="0"/>
              <a:t> feature</a:t>
            </a:r>
          </a:p>
          <a:p>
            <a:pPr marL="568325" lvl="1" indent="285750">
              <a:spcBef>
                <a:spcPts val="2400"/>
              </a:spcBef>
            </a:pPr>
            <a:r>
              <a:rPr lang="en-US" sz="1800" b="1" dirty="0"/>
              <a:t>Quiet timer </a:t>
            </a:r>
            <a:r>
              <a:rPr lang="en-US" sz="1800" dirty="0"/>
              <a:t>– timer for which the quiet filter is applied (default 2s)</a:t>
            </a:r>
          </a:p>
          <a:p>
            <a:pPr marL="568325" lvl="1" indent="285750">
              <a:spcBef>
                <a:spcPts val="2400"/>
              </a:spcBef>
            </a:pPr>
            <a:r>
              <a:rPr lang="en-US" sz="1800" b="1" dirty="0"/>
              <a:t>Quiet button </a:t>
            </a:r>
            <a:r>
              <a:rPr lang="en-US" sz="1800" dirty="0"/>
              <a:t>– quiets selected tags</a:t>
            </a:r>
          </a:p>
          <a:p>
            <a:pPr marL="568325" lvl="1" indent="285750">
              <a:spcBef>
                <a:spcPts val="2400"/>
              </a:spcBef>
            </a:pPr>
            <a:r>
              <a:rPr lang="en-US" sz="1800" b="1" dirty="0"/>
              <a:t>Un-quiet</a:t>
            </a:r>
            <a:r>
              <a:rPr lang="en-US" sz="1800" dirty="0"/>
              <a:t> – select to un-quiet inventoried tags</a:t>
            </a:r>
          </a:p>
          <a:p>
            <a:pPr marL="568325" lvl="1" indent="285750">
              <a:spcBef>
                <a:spcPts val="2400"/>
              </a:spcBef>
            </a:pPr>
            <a:r>
              <a:rPr lang="en-US" sz="1800" b="1" dirty="0" err="1"/>
              <a:t>FastID</a:t>
            </a:r>
            <a:r>
              <a:rPr lang="en-US" sz="1800" dirty="0"/>
              <a:t> –  enables </a:t>
            </a:r>
            <a:r>
              <a:rPr lang="en-US" sz="1800" dirty="0" err="1"/>
              <a:t>FastID</a:t>
            </a:r>
            <a:r>
              <a:rPr lang="en-US" sz="1800" dirty="0"/>
              <a:t> feature</a:t>
            </a:r>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C3E2C4EB-55AA-0F55-F4A6-426C29121C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16647" y="929658"/>
            <a:ext cx="2564765" cy="5123438"/>
          </a:xfrm>
          <a:prstGeom prst="rect">
            <a:avLst/>
          </a:prstGeom>
        </p:spPr>
      </p:pic>
      <p:pic>
        <p:nvPicPr>
          <p:cNvPr id="14" name="Graphic 13" descr="Badge 1 with solid fill">
            <a:extLst>
              <a:ext uri="{FF2B5EF4-FFF2-40B4-BE49-F238E27FC236}">
                <a16:creationId xmlns:a16="http://schemas.microsoft.com/office/drawing/2014/main" id="{8EFE4630-79F9-BB80-914E-47F94120E7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227"/>
            <a:ext cx="573832" cy="573832"/>
          </a:xfrm>
          <a:prstGeom prst="rect">
            <a:avLst/>
          </a:prstGeom>
        </p:spPr>
      </p:pic>
      <p:sp>
        <p:nvSpPr>
          <p:cNvPr id="16" name="Rectangle 15">
            <a:extLst>
              <a:ext uri="{FF2B5EF4-FFF2-40B4-BE49-F238E27FC236}">
                <a16:creationId xmlns:a16="http://schemas.microsoft.com/office/drawing/2014/main" id="{AAACF83B-981D-87B8-5EF8-A6212DAC1000}"/>
              </a:ext>
            </a:extLst>
          </p:cNvPr>
          <p:cNvSpPr/>
          <p:nvPr/>
        </p:nvSpPr>
        <p:spPr>
          <a:xfrm>
            <a:off x="8716647" y="1483432"/>
            <a:ext cx="2583495" cy="573832"/>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E2BF2CBC-DA23-ABEF-D82F-C8CA7D69DE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2815" y="1483432"/>
            <a:ext cx="573832" cy="573832"/>
          </a:xfrm>
          <a:prstGeom prst="rect">
            <a:avLst/>
          </a:prstGeom>
        </p:spPr>
      </p:pic>
    </p:spTree>
    <p:extLst>
      <p:ext uri="{BB962C8B-B14F-4D97-AF65-F5344CB8AC3E}">
        <p14:creationId xmlns:p14="http://schemas.microsoft.com/office/powerpoint/2010/main" val="274687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21404-AE64-AA28-4AFA-C55D3E66D69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75EEAC2-5D02-5078-B296-C8F9416130A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0542F47-0C10-3834-9149-7A96DC96A8E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621C056-002D-455A-1F02-41EB1234A41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6E9A504-A96C-536F-F2D0-CB3A9B976A0F}"/>
              </a:ext>
            </a:extLst>
          </p:cNvPr>
          <p:cNvSpPr txBox="1">
            <a:spLocks/>
          </p:cNvSpPr>
          <p:nvPr/>
        </p:nvSpPr>
        <p:spPr>
          <a:xfrm>
            <a:off x="448508" y="1584959"/>
            <a:ext cx="7730292"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Inventory Tag Display </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EPC TAG ID </a:t>
            </a:r>
            <a:r>
              <a:rPr lang="en-US" sz="1800" dirty="0"/>
              <a:t>– EPC value read from tag</a:t>
            </a:r>
          </a:p>
          <a:p>
            <a:pPr marL="458736" lvl="1" indent="-285750">
              <a:spcBef>
                <a:spcPts val="0"/>
              </a:spcBef>
              <a:spcAft>
                <a:spcPts val="1200"/>
              </a:spcAft>
            </a:pPr>
            <a:r>
              <a:rPr lang="en-US" sz="1800" b="1" dirty="0"/>
              <a:t>Count</a:t>
            </a:r>
            <a:r>
              <a:rPr lang="en-US" sz="1800" dirty="0"/>
              <a:t> – Number of times read in this inventory cycle</a:t>
            </a:r>
          </a:p>
          <a:p>
            <a:pPr marL="458736" lvl="1" indent="-285750">
              <a:spcBef>
                <a:spcPts val="0"/>
              </a:spcBef>
              <a:spcAft>
                <a:spcPts val="1200"/>
              </a:spcAft>
            </a:pPr>
            <a:r>
              <a:rPr lang="en-US" sz="1800" b="1" dirty="0"/>
              <a:t>RSSI</a:t>
            </a:r>
            <a:r>
              <a:rPr lang="en-US" sz="1800" dirty="0"/>
              <a:t>  - Received Signal Strength Indicator</a:t>
            </a:r>
          </a:p>
          <a:p>
            <a:pPr marL="458736" lvl="1" indent="-285750">
              <a:spcBef>
                <a:spcPts val="0"/>
              </a:spcBef>
              <a:spcAft>
                <a:spcPts val="1200"/>
              </a:spcAft>
            </a:pPr>
            <a:r>
              <a:rPr lang="en-US" sz="1800" b="1" dirty="0"/>
              <a:t>Read/sec </a:t>
            </a:r>
            <a:r>
              <a:rPr lang="en-US" sz="1800" dirty="0"/>
              <a:t>– reads per second in this inventory cycle</a:t>
            </a:r>
          </a:p>
          <a:p>
            <a:pPr marL="458736" lvl="1" indent="-285750">
              <a:spcBef>
                <a:spcPts val="0"/>
              </a:spcBef>
              <a:spcAft>
                <a:spcPts val="1200"/>
              </a:spcAft>
            </a:pPr>
            <a:r>
              <a:rPr lang="en-US" sz="1800" b="1" dirty="0"/>
              <a:t>Colors</a:t>
            </a:r>
          </a:p>
          <a:p>
            <a:pPr lvl="2" indent="0">
              <a:spcBef>
                <a:spcPts val="0"/>
              </a:spcBef>
              <a:spcAft>
                <a:spcPts val="1200"/>
              </a:spcAft>
              <a:buNone/>
            </a:pPr>
            <a:r>
              <a:rPr lang="en-US" sz="1600" dirty="0"/>
              <a:t>	Green: Tags which have the read / sec greater than the average </a:t>
            </a:r>
          </a:p>
          <a:p>
            <a:pPr lvl="2" indent="0">
              <a:spcBef>
                <a:spcPts val="0"/>
              </a:spcBef>
              <a:spcAft>
                <a:spcPts val="1200"/>
              </a:spcAft>
              <a:buNone/>
            </a:pPr>
            <a:r>
              <a:rPr lang="en-US" sz="1600" dirty="0"/>
              <a:t>	Grey: Tags which have read/sec less than the average </a:t>
            </a:r>
          </a:p>
          <a:p>
            <a:pPr lvl="2" indent="0">
              <a:spcBef>
                <a:spcPts val="0"/>
              </a:spcBef>
              <a:spcAft>
                <a:spcPts val="1200"/>
              </a:spcAft>
              <a:buNone/>
            </a:pPr>
            <a:r>
              <a:rPr lang="en-US" sz="1600" dirty="0"/>
              <a:t>	Yellow: Tags which were quieted</a:t>
            </a:r>
          </a:p>
          <a:p>
            <a:pPr lvl="2" indent="0">
              <a:spcBef>
                <a:spcPts val="0"/>
              </a:spcBef>
              <a:spcAft>
                <a:spcPts val="1200"/>
              </a:spcAft>
              <a:buNone/>
            </a:pPr>
            <a:r>
              <a:rPr lang="en-US" sz="1600" dirty="0"/>
              <a:t>	White: Non quieted tags which are not participating in the current round</a:t>
            </a:r>
          </a:p>
          <a:p>
            <a:pPr marL="458736" lvl="1" indent="-285750">
              <a:spcBef>
                <a:spcPts val="2400"/>
              </a:spcBef>
            </a:pP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B750C787-3060-CFEA-7A9A-371566AA3D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4" cy="5123438"/>
          </a:xfrm>
          <a:prstGeom prst="rect">
            <a:avLst/>
          </a:prstGeom>
        </p:spPr>
      </p:pic>
      <p:pic>
        <p:nvPicPr>
          <p:cNvPr id="7" name="Graphic 6" descr="Badge with solid fill">
            <a:extLst>
              <a:ext uri="{FF2B5EF4-FFF2-40B4-BE49-F238E27FC236}">
                <a16:creationId xmlns:a16="http://schemas.microsoft.com/office/drawing/2014/main" id="{9BEE011F-8BD6-78B4-7531-101970F3D9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757" y="2016730"/>
            <a:ext cx="573832" cy="573832"/>
          </a:xfrm>
          <a:prstGeom prst="rect">
            <a:avLst/>
          </a:prstGeom>
        </p:spPr>
      </p:pic>
      <p:sp>
        <p:nvSpPr>
          <p:cNvPr id="8" name="Rectangle 7">
            <a:extLst>
              <a:ext uri="{FF2B5EF4-FFF2-40B4-BE49-F238E27FC236}">
                <a16:creationId xmlns:a16="http://schemas.microsoft.com/office/drawing/2014/main" id="{6F9B2950-9ECD-A0C1-F621-0B4DFDE7848F}"/>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with solid fill">
            <a:extLst>
              <a:ext uri="{FF2B5EF4-FFF2-40B4-BE49-F238E27FC236}">
                <a16:creationId xmlns:a16="http://schemas.microsoft.com/office/drawing/2014/main" id="{A189574F-1FFE-86CA-5089-7AD4B9C32C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3294692"/>
            <a:ext cx="573832" cy="573832"/>
          </a:xfrm>
          <a:prstGeom prst="rect">
            <a:avLst/>
          </a:prstGeom>
        </p:spPr>
      </p:pic>
      <p:sp>
        <p:nvSpPr>
          <p:cNvPr id="11" name="Rectangle 10">
            <a:extLst>
              <a:ext uri="{FF2B5EF4-FFF2-40B4-BE49-F238E27FC236}">
                <a16:creationId xmlns:a16="http://schemas.microsoft.com/office/drawing/2014/main" id="{D405826D-1BDF-4C85-967C-2C9E3F2B265D}"/>
              </a:ext>
            </a:extLst>
          </p:cNvPr>
          <p:cNvSpPr/>
          <p:nvPr/>
        </p:nvSpPr>
        <p:spPr>
          <a:xfrm>
            <a:off x="905589" y="4973111"/>
            <a:ext cx="384731" cy="208489"/>
          </a:xfrm>
          <a:prstGeom prst="rect">
            <a:avLst/>
          </a:prstGeom>
          <a:solidFill>
            <a:srgbClr val="E6FFE6"/>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2" name="Rectangle 11">
            <a:extLst>
              <a:ext uri="{FF2B5EF4-FFF2-40B4-BE49-F238E27FC236}">
                <a16:creationId xmlns:a16="http://schemas.microsoft.com/office/drawing/2014/main" id="{25F076B1-3433-B7B7-8CA7-0DDF898DFF77}"/>
              </a:ext>
            </a:extLst>
          </p:cNvPr>
          <p:cNvSpPr/>
          <p:nvPr/>
        </p:nvSpPr>
        <p:spPr>
          <a:xfrm>
            <a:off x="905589" y="5352485"/>
            <a:ext cx="384731" cy="208489"/>
          </a:xfrm>
          <a:prstGeom prst="rect">
            <a:avLst/>
          </a:prstGeom>
          <a:solidFill>
            <a:srgbClr val="E0E0E0"/>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3" name="Rectangle 12">
            <a:extLst>
              <a:ext uri="{FF2B5EF4-FFF2-40B4-BE49-F238E27FC236}">
                <a16:creationId xmlns:a16="http://schemas.microsoft.com/office/drawing/2014/main" id="{957EAB9F-07A2-4541-2BCD-E4341B884615}"/>
              </a:ext>
            </a:extLst>
          </p:cNvPr>
          <p:cNvSpPr/>
          <p:nvPr/>
        </p:nvSpPr>
        <p:spPr>
          <a:xfrm>
            <a:off x="905589" y="5735702"/>
            <a:ext cx="384731" cy="208489"/>
          </a:xfrm>
          <a:prstGeom prst="rect">
            <a:avLst/>
          </a:prstGeom>
          <a:solidFill>
            <a:srgbClr val="FFFDE7"/>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7" name="Rectangle 16">
            <a:extLst>
              <a:ext uri="{FF2B5EF4-FFF2-40B4-BE49-F238E27FC236}">
                <a16:creationId xmlns:a16="http://schemas.microsoft.com/office/drawing/2014/main" id="{F27CB475-0DB1-04FE-491D-98B511EC33D6}"/>
              </a:ext>
            </a:extLst>
          </p:cNvPr>
          <p:cNvSpPr/>
          <p:nvPr/>
        </p:nvSpPr>
        <p:spPr>
          <a:xfrm>
            <a:off x="905588" y="6145233"/>
            <a:ext cx="384731" cy="208489"/>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49449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D7B2C-E0AA-F427-D1C4-17EB1325BCB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CE1641C-AE08-14C0-E89B-B7540BF865E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E8BDE58-FFD1-82E3-D734-9EFF3C3429A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1A5F0AC-CB67-E625-431B-AB00BFDF8C8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C635EF-66C8-5DC6-4069-AF7497ED2D41}"/>
              </a:ext>
            </a:extLst>
          </p:cNvPr>
          <p:cNvSpPr txBox="1">
            <a:spLocks/>
          </p:cNvSpPr>
          <p:nvPr/>
        </p:nvSpPr>
        <p:spPr>
          <a:xfrm>
            <a:off x="448508" y="1584959"/>
            <a:ext cx="6650561"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Inventory Summary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Inventory Stop Timer – </a:t>
            </a:r>
            <a:r>
              <a:rPr lang="en-US" sz="1800" dirty="0"/>
              <a:t>Set a time limit to automatically stop inventory after the specified duration</a:t>
            </a:r>
            <a:endParaRPr lang="en-US" sz="1800" dirty="0">
              <a:highlight>
                <a:srgbClr val="FFFF00"/>
              </a:highlight>
            </a:endParaRPr>
          </a:p>
          <a:p>
            <a:pPr marL="458736" lvl="1" indent="-285750">
              <a:spcBef>
                <a:spcPts val="0"/>
              </a:spcBef>
              <a:spcAft>
                <a:spcPts val="1200"/>
              </a:spcAft>
            </a:pPr>
            <a:r>
              <a:rPr lang="en-US" sz="1800" b="1" dirty="0"/>
              <a:t>Tag Counts by Category</a:t>
            </a:r>
          </a:p>
          <a:p>
            <a:pPr marL="854075" lvl="2" indent="-163513">
              <a:spcBef>
                <a:spcPts val="0"/>
              </a:spcBef>
              <a:spcAft>
                <a:spcPts val="1200"/>
              </a:spcAft>
            </a:pPr>
            <a:r>
              <a:rPr lang="en-US" b="1" dirty="0"/>
              <a:t>Y: </a:t>
            </a:r>
            <a:r>
              <a:rPr lang="en-US" dirty="0"/>
              <a:t>Yellow</a:t>
            </a:r>
          </a:p>
          <a:p>
            <a:pPr marL="854075" lvl="2" indent="-163513">
              <a:spcBef>
                <a:spcPts val="0"/>
              </a:spcBef>
              <a:spcAft>
                <a:spcPts val="1200"/>
              </a:spcAft>
            </a:pPr>
            <a:r>
              <a:rPr lang="en-US" b="1" dirty="0"/>
              <a:t>G:</a:t>
            </a:r>
            <a:r>
              <a:rPr lang="en-US" dirty="0"/>
              <a:t> Green</a:t>
            </a:r>
          </a:p>
          <a:p>
            <a:pPr marL="854075" lvl="2" indent="-163513">
              <a:spcBef>
                <a:spcPts val="0"/>
              </a:spcBef>
              <a:spcAft>
                <a:spcPts val="1200"/>
              </a:spcAft>
            </a:pPr>
            <a:r>
              <a:rPr lang="en-US" b="1" dirty="0"/>
              <a:t>GREY: </a:t>
            </a:r>
            <a:r>
              <a:rPr lang="en-US" dirty="0"/>
              <a:t>Grey</a:t>
            </a:r>
          </a:p>
          <a:p>
            <a:pPr marL="854075" lvl="2" indent="-163513">
              <a:spcBef>
                <a:spcPts val="0"/>
              </a:spcBef>
              <a:spcAft>
                <a:spcPts val="1200"/>
              </a:spcAft>
            </a:pPr>
            <a:r>
              <a:rPr lang="en-US" b="1" dirty="0"/>
              <a:t>W:</a:t>
            </a:r>
            <a:r>
              <a:rPr lang="en-US" dirty="0"/>
              <a:t> White</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F69A8F9C-6F01-106A-9242-01190C350D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4" cy="5123438"/>
          </a:xfrm>
          <a:prstGeom prst="rect">
            <a:avLst/>
          </a:prstGeom>
        </p:spPr>
      </p:pic>
      <p:pic>
        <p:nvPicPr>
          <p:cNvPr id="10" name="Graphic 9" descr="Badge 3 with solid fill">
            <a:extLst>
              <a:ext uri="{FF2B5EF4-FFF2-40B4-BE49-F238E27FC236}">
                <a16:creationId xmlns:a16="http://schemas.microsoft.com/office/drawing/2014/main" id="{458B4C7E-B6EC-8990-BA1C-CECCAF0846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01728"/>
            <a:ext cx="573832" cy="573832"/>
          </a:xfrm>
          <a:prstGeom prst="rect">
            <a:avLst/>
          </a:prstGeom>
        </p:spPr>
      </p:pic>
      <p:sp>
        <p:nvSpPr>
          <p:cNvPr id="14" name="Rectangle 13">
            <a:extLst>
              <a:ext uri="{FF2B5EF4-FFF2-40B4-BE49-F238E27FC236}">
                <a16:creationId xmlns:a16="http://schemas.microsoft.com/office/drawing/2014/main" id="{B09D6078-CC28-5E28-D13F-3BC302953F10}"/>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3 with solid fill">
            <a:extLst>
              <a:ext uri="{FF2B5EF4-FFF2-40B4-BE49-F238E27FC236}">
                <a16:creationId xmlns:a16="http://schemas.microsoft.com/office/drawing/2014/main" id="{004E012F-BB9B-A205-720E-E8B56381FC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4835769"/>
            <a:ext cx="573832" cy="573832"/>
          </a:xfrm>
          <a:prstGeom prst="rect">
            <a:avLst/>
          </a:prstGeom>
        </p:spPr>
      </p:pic>
    </p:spTree>
    <p:extLst>
      <p:ext uri="{BB962C8B-B14F-4D97-AF65-F5344CB8AC3E}">
        <p14:creationId xmlns:p14="http://schemas.microsoft.com/office/powerpoint/2010/main" val="197180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C1E59-35CD-42EE-BAC1-6802DA87AEA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94A4A75-70D0-98E9-C4B2-E41D8B79D58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87C7D73D-8780-0307-4F71-7E0AB59B6AB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5BB9026-A71D-CF41-7831-2C42C883F582}"/>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461F39A-DFD1-9E6E-547B-755C319403C2}"/>
              </a:ext>
            </a:extLst>
          </p:cNvPr>
          <p:cNvSpPr txBox="1">
            <a:spLocks/>
          </p:cNvSpPr>
          <p:nvPr/>
        </p:nvSpPr>
        <p:spPr>
          <a:xfrm>
            <a:off x="448508" y="1584959"/>
            <a:ext cx="6168423"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Unique Tags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Unique Tags Count -</a:t>
            </a:r>
            <a:r>
              <a:rPr lang="en-US" sz="1800" dirty="0"/>
              <a:t> Total number of unique RFID tags read</a:t>
            </a:r>
            <a:endParaRPr lang="en-US" sz="1800" dirty="0">
              <a:highlight>
                <a:srgbClr val="FFFF00"/>
              </a:highlight>
            </a:endParaRPr>
          </a:p>
          <a:p>
            <a:pPr marL="458736" lvl="1" indent="-285750">
              <a:spcBef>
                <a:spcPts val="0"/>
              </a:spcBef>
              <a:spcAft>
                <a:spcPts val="1200"/>
              </a:spcAft>
            </a:pPr>
            <a:r>
              <a:rPr lang="en-US" sz="1800" b="1" dirty="0"/>
              <a:t>Timer: </a:t>
            </a:r>
            <a:r>
              <a:rPr lang="en-US" sz="1800" dirty="0" err="1"/>
              <a:t>Elpsed</a:t>
            </a:r>
            <a:r>
              <a:rPr lang="en-US" sz="1800" dirty="0"/>
              <a:t> inventory runtime</a:t>
            </a:r>
          </a:p>
          <a:p>
            <a:pPr marL="458736" lvl="1" indent="-285750">
              <a:spcBef>
                <a:spcPts val="0"/>
              </a:spcBef>
              <a:spcAft>
                <a:spcPts val="1200"/>
              </a:spcAft>
            </a:pPr>
            <a:r>
              <a:rPr lang="en-US" sz="1800" b="1" dirty="0"/>
              <a:t>New Unique Tags in every 10s: </a:t>
            </a:r>
            <a:r>
              <a:rPr lang="en-US" sz="1800" dirty="0"/>
              <a:t>Number of previously unread tags detected within a rolling 10-second interval</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D7606CA7-8C99-7F18-3C59-CD455B5E34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4" cy="5123438"/>
          </a:xfrm>
          <a:prstGeom prst="rect">
            <a:avLst/>
          </a:prstGeom>
        </p:spPr>
      </p:pic>
      <p:pic>
        <p:nvPicPr>
          <p:cNvPr id="7" name="Graphic 6" descr="Badge 4 with solid fill">
            <a:extLst>
              <a:ext uri="{FF2B5EF4-FFF2-40B4-BE49-F238E27FC236}">
                <a16:creationId xmlns:a16="http://schemas.microsoft.com/office/drawing/2014/main" id="{5F6DC641-2C42-4A42-C612-FD30C28932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948"/>
            <a:ext cx="573832" cy="573832"/>
          </a:xfrm>
          <a:prstGeom prst="rect">
            <a:avLst/>
          </a:prstGeom>
        </p:spPr>
      </p:pic>
      <p:sp>
        <p:nvSpPr>
          <p:cNvPr id="8" name="Rectangle 7">
            <a:extLst>
              <a:ext uri="{FF2B5EF4-FFF2-40B4-BE49-F238E27FC236}">
                <a16:creationId xmlns:a16="http://schemas.microsoft.com/office/drawing/2014/main" id="{0A314F87-D4B3-EF9B-0F2E-35AB03362531}"/>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4 with solid fill">
            <a:extLst>
              <a:ext uri="{FF2B5EF4-FFF2-40B4-BE49-F238E27FC236}">
                <a16:creationId xmlns:a16="http://schemas.microsoft.com/office/drawing/2014/main" id="{4EDC2376-7CBB-9CD0-1AE8-5FE250F2C4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5242560"/>
            <a:ext cx="573832" cy="573832"/>
          </a:xfrm>
          <a:prstGeom prst="rect">
            <a:avLst/>
          </a:prstGeom>
        </p:spPr>
      </p:pic>
    </p:spTree>
    <p:extLst>
      <p:ext uri="{BB962C8B-B14F-4D97-AF65-F5344CB8AC3E}">
        <p14:creationId xmlns:p14="http://schemas.microsoft.com/office/powerpoint/2010/main" val="24166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A2E5B-A97A-A10E-FBB9-9B6424C0AB7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BA2419D-3F75-CD61-5D2D-87BB5DB519A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850D461-115C-013D-ED86-AC4073A0A9A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49E19FCF-C71E-F50F-BE29-C4BE9CCE62D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FB2C71E8-823A-53D8-39CB-0F56F64DE730}"/>
              </a:ext>
            </a:extLst>
          </p:cNvPr>
          <p:cNvSpPr txBox="1">
            <a:spLocks/>
          </p:cNvSpPr>
          <p:nvPr/>
        </p:nvSpPr>
        <p:spPr>
          <a:xfrm>
            <a:off x="448508" y="1584960"/>
            <a:ext cx="77506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800" b="1" dirty="0">
                <a:solidFill>
                  <a:srgbClr val="1F69FF"/>
                </a:solidFill>
              </a:rPr>
              <a:t>Singulation</a:t>
            </a:r>
            <a:endParaRPr lang="en-US" sz="1600" dirty="0">
              <a:solidFill>
                <a:srgbClr val="1F69FF"/>
              </a:solidFill>
            </a:endParaRPr>
          </a:p>
          <a:p>
            <a:r>
              <a:rPr lang="en-US" sz="1600" dirty="0"/>
              <a:t>This page provides options to customize how RFID tags are filtered and managed during inventory operations. </a:t>
            </a:r>
            <a:br>
              <a:rPr lang="en-US" sz="1600" dirty="0"/>
            </a:br>
            <a:endParaRPr lang="en-US" sz="1600" dirty="0"/>
          </a:p>
          <a:p>
            <a:pPr lvl="1"/>
            <a:r>
              <a:rPr lang="en-US" sz="1600" dirty="0"/>
              <a:t>Select Session</a:t>
            </a:r>
          </a:p>
          <a:p>
            <a:pPr lvl="1"/>
            <a:r>
              <a:rPr lang="en-US" sz="1600" dirty="0"/>
              <a:t>Enter Tag Population</a:t>
            </a:r>
          </a:p>
          <a:p>
            <a:pPr lvl="1"/>
            <a:r>
              <a:rPr lang="en-US" sz="1600" dirty="0"/>
              <a:t>Select Inventory State</a:t>
            </a:r>
          </a:p>
          <a:p>
            <a:pPr lvl="1"/>
            <a:r>
              <a:rPr lang="en-US" sz="1600" dirty="0"/>
              <a:t>Select SL Flag </a:t>
            </a:r>
          </a:p>
          <a:p>
            <a:pPr lvl="1"/>
            <a:r>
              <a:rPr lang="en-US" sz="1600" dirty="0"/>
              <a:t>Click the Save button to save Singulation settings</a:t>
            </a:r>
          </a:p>
          <a:p>
            <a:pPr lvl="1"/>
            <a:endParaRPr lang="en-US" sz="1600" dirty="0"/>
          </a:p>
          <a:p>
            <a:pPr marL="0" lvl="1" indent="0">
              <a:buNone/>
            </a:pPr>
            <a:r>
              <a:rPr lang="en-US" sz="1600" dirty="0"/>
              <a:t>To learn more about singulation, please see:</a:t>
            </a:r>
          </a:p>
          <a:p>
            <a:pPr marL="0" lvl="1" indent="0">
              <a:buNone/>
            </a:pPr>
            <a:r>
              <a:rPr lang="en-US" sz="1600" dirty="0">
                <a:hlinkClick r:id="rId3"/>
              </a:rPr>
              <a:t>https://techdocs.zebra.com/dcs/rfid/android/2-15/tutorials/singulation/</a:t>
            </a:r>
            <a:endParaRPr lang="en-US" sz="1600" dirty="0"/>
          </a:p>
          <a:p>
            <a:endParaRPr lang="en-US" sz="1400" dirty="0"/>
          </a:p>
          <a:p>
            <a:endParaRPr lang="en-US" sz="1400" dirty="0"/>
          </a:p>
        </p:txBody>
      </p:sp>
      <p:pic>
        <p:nvPicPr>
          <p:cNvPr id="11" name="Picture 10" descr="A screenshot of a computer&#10;&#10;AI-generated content may be incorrect.">
            <a:extLst>
              <a:ext uri="{FF2B5EF4-FFF2-40B4-BE49-F238E27FC236}">
                <a16:creationId xmlns:a16="http://schemas.microsoft.com/office/drawing/2014/main" id="{78D2843E-5ABC-8C8A-C774-B56BBB031E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5374"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830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7882A-BBC5-A42E-F3B8-5A88012D4E89}"/>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C6B5592-6E9F-9DD0-E58A-6C09018543B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27F1DE-28B2-6AEA-0F5C-08ADDFD8238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B3E6F49-58BB-D16E-EA52-3135A757771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0E71DA1-2793-0F97-62A6-0ED633F51FB7}"/>
              </a:ext>
            </a:extLst>
          </p:cNvPr>
          <p:cNvSpPr txBox="1">
            <a:spLocks/>
          </p:cNvSpPr>
          <p:nvPr/>
        </p:nvSpPr>
        <p:spPr>
          <a:xfrm>
            <a:off x="448508" y="1584960"/>
            <a:ext cx="7958516"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2000" b="1" dirty="0">
                <a:solidFill>
                  <a:srgbClr val="1F69FF"/>
                </a:solidFill>
              </a:rPr>
              <a:t>Pre-filter</a:t>
            </a:r>
            <a:endParaRPr lang="en-US" sz="2000" dirty="0">
              <a:solidFill>
                <a:srgbClr val="1F69FF"/>
              </a:solidFill>
            </a:endParaRPr>
          </a:p>
          <a:p>
            <a:r>
              <a:rPr lang="en-US" sz="1400" dirty="0"/>
              <a:t>On the prefilter page, the user can save up to 4 prefilters</a:t>
            </a:r>
            <a:br>
              <a:rPr lang="en-US" sz="1400" dirty="0"/>
            </a:br>
            <a:endParaRPr lang="en-US" sz="1400" dirty="0"/>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add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 Numb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Target, Action, Memory Bank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Enter Pointer and Length (the bit numbers of the tag)</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Sav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modify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Prefilters cannot be modified - please delete the prefilter and create a new on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 single prefilter (for 1-4 prefilter):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the Delete button prefilter </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LL Prefilters (or if &gt;4 prefilters):</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DELETE ALL PREFILTERS to delete all existing prefilters at once (up to 32 prefilters) </a:t>
            </a:r>
          </a:p>
          <a:p>
            <a:endParaRPr lang="en-US" sz="1400" dirty="0"/>
          </a:p>
        </p:txBody>
      </p:sp>
      <p:pic>
        <p:nvPicPr>
          <p:cNvPr id="8" name="Picture 7" descr="A screenshot of a computer&#10;&#10;AI-generated content may be incorrect.">
            <a:extLst>
              <a:ext uri="{FF2B5EF4-FFF2-40B4-BE49-F238E27FC236}">
                <a16:creationId xmlns:a16="http://schemas.microsoft.com/office/drawing/2014/main" id="{67EFA07C-4136-395E-EC81-177D5C76D7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3"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385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03F8-BE2E-3471-C569-19A078BC2B08}"/>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A619C31-C434-CEB3-6534-CBE385BA17A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AA4D0A5-5F7F-6012-9126-C9E55D2AA232}"/>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Focus</a:t>
            </a:r>
          </a:p>
        </p:txBody>
      </p:sp>
    </p:spTree>
    <p:extLst>
      <p:ext uri="{BB962C8B-B14F-4D97-AF65-F5344CB8AC3E}">
        <p14:creationId xmlns:p14="http://schemas.microsoft.com/office/powerpoint/2010/main" val="1755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EBDC7-6EBE-3589-35CF-2DE1773372F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EECA6CA-8826-8306-DA2C-003C026F391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691C81E-274F-AA61-257F-61E743F4C1A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A25888B-A300-7A57-75EF-4E223D6E5DC0}"/>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53C4EE-EF79-CB78-5E3D-5F9AA897D7BD}"/>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800" b="1" dirty="0"/>
              <a:t>What is </a:t>
            </a:r>
            <a:r>
              <a:rPr lang="en-US" sz="1800" b="1" dirty="0" err="1"/>
              <a:t>TagFocus</a:t>
            </a:r>
            <a:r>
              <a:rPr lang="en-US" sz="1800" b="1" dirty="0"/>
              <a:t>?</a:t>
            </a:r>
            <a:endParaRPr lang="en-US" sz="1800" dirty="0"/>
          </a:p>
          <a:p>
            <a:pPr lvl="1"/>
            <a:r>
              <a:rPr lang="en-US" sz="1600" dirty="0"/>
              <a:t>Tag Focus is a feature designed to enhance RFID tag filtering and focus on specific tags in dense tag environments.</a:t>
            </a:r>
          </a:p>
          <a:p>
            <a:pPr marL="0" lvl="1" indent="0">
              <a:spcBef>
                <a:spcPts val="1800"/>
              </a:spcBef>
              <a:buNone/>
            </a:pPr>
            <a:r>
              <a:rPr lang="en-US" sz="1800" b="1" dirty="0"/>
              <a:t>When to use </a:t>
            </a:r>
            <a:r>
              <a:rPr lang="en-US" sz="1800" b="1" dirty="0" err="1"/>
              <a:t>TagFocus</a:t>
            </a:r>
            <a:r>
              <a:rPr lang="en-US" sz="1800" b="1" dirty="0"/>
              <a:t>?</a:t>
            </a:r>
            <a:endParaRPr lang="en-US" sz="1800" dirty="0"/>
          </a:p>
          <a:p>
            <a:pPr lvl="1"/>
            <a:r>
              <a:rPr lang="en-US" sz="1600" dirty="0" err="1"/>
              <a:t>TagFocus</a:t>
            </a:r>
            <a:r>
              <a:rPr lang="en-US" sz="1600" dirty="0"/>
              <a:t> is most beneficial when the RFID reader is overwhelmed by the number of tags responding simultaneously. This typically occurs when there are several hundreds or thousands of tags in the read field.  Below this threshold, the normal session-based reading may already perform adequately without noticeable differences.</a:t>
            </a:r>
            <a:br>
              <a:rPr lang="en-US" sz="1600" dirty="0"/>
            </a:br>
            <a:endParaRPr lang="en-US" sz="1600" dirty="0"/>
          </a:p>
          <a:p>
            <a:pPr>
              <a:spcBef>
                <a:spcPts val="600"/>
              </a:spcBef>
            </a:pPr>
            <a:r>
              <a:rPr lang="en-US" sz="1800" b="1" dirty="0"/>
              <a:t>How to Demo:</a:t>
            </a:r>
            <a:endParaRPr lang="en-US" sz="1800" dirty="0"/>
          </a:p>
          <a:p>
            <a:pPr marL="517473" lvl="2" indent="-342900">
              <a:spcBef>
                <a:spcPts val="600"/>
              </a:spcBef>
              <a:buFont typeface="+mj-lt"/>
              <a:buAutoNum type="arabicPeriod"/>
            </a:pPr>
            <a:r>
              <a:rPr lang="en-US" dirty="0"/>
              <a:t>Setup Tags for Demo (recommend at least 100 tags)</a:t>
            </a:r>
          </a:p>
          <a:p>
            <a:pPr marL="517473" lvl="2" indent="-342900">
              <a:spcBef>
                <a:spcPts val="600"/>
              </a:spcBef>
              <a:buFont typeface="+mj-lt"/>
              <a:buAutoNum type="arabicPeriod"/>
            </a:pPr>
            <a:r>
              <a:rPr lang="en-US" dirty="0"/>
              <a:t>Inventory Without </a:t>
            </a:r>
            <a:r>
              <a:rPr lang="en-US" dirty="0" err="1"/>
              <a:t>TagFocus</a:t>
            </a:r>
            <a:endParaRPr lang="en-US" dirty="0"/>
          </a:p>
          <a:p>
            <a:pPr marL="517473" lvl="2" indent="-342900">
              <a:spcBef>
                <a:spcPts val="600"/>
              </a:spcBef>
              <a:buFont typeface="+mj-lt"/>
              <a:buAutoNum type="arabicPeriod"/>
            </a:pPr>
            <a:r>
              <a:rPr lang="en-US" dirty="0"/>
              <a:t>Inventory With </a:t>
            </a:r>
            <a:r>
              <a:rPr lang="en-US" dirty="0" err="1"/>
              <a:t>TagFocus</a:t>
            </a:r>
            <a:endParaRPr lang="en-US" dirty="0"/>
          </a:p>
          <a:p>
            <a:pPr marL="517473" lvl="2" indent="-342900">
              <a:spcBef>
                <a:spcPts val="600"/>
              </a:spcBef>
              <a:buFont typeface="+mj-lt"/>
              <a:buAutoNum type="arabicPeriod"/>
            </a:pPr>
            <a:r>
              <a:rPr lang="en-US" dirty="0"/>
              <a:t>Observe and Compare Results</a:t>
            </a:r>
            <a:endParaRPr lang="en-US" b="1" dirty="0"/>
          </a:p>
          <a:p>
            <a:pPr marL="517473" lvl="2" indent="-342900">
              <a:spcBef>
                <a:spcPts val="600"/>
              </a:spcBef>
              <a:buFont typeface="+mj-lt"/>
              <a:buAutoNum type="arabicPeriod"/>
            </a:pP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
        <p:nvSpPr>
          <p:cNvPr id="10" name="TextBox 9">
            <a:extLst>
              <a:ext uri="{FF2B5EF4-FFF2-40B4-BE49-F238E27FC236}">
                <a16:creationId xmlns:a16="http://schemas.microsoft.com/office/drawing/2014/main" id="{7554EF57-7BDC-F239-3D9D-C9F345B260B0}"/>
              </a:ext>
            </a:extLst>
          </p:cNvPr>
          <p:cNvSpPr txBox="1"/>
          <p:nvPr/>
        </p:nvSpPr>
        <p:spPr>
          <a:xfrm>
            <a:off x="5647492" y="4318933"/>
            <a:ext cx="6096000" cy="954107"/>
          </a:xfrm>
          <a:prstGeom prst="rect">
            <a:avLst/>
          </a:prstGeom>
          <a:noFill/>
        </p:spPr>
        <p:txBody>
          <a:bodyPr wrap="square">
            <a:spAutoFit/>
          </a:bodyPr>
          <a:lstStyle/>
          <a:p>
            <a:pPr>
              <a:spcBef>
                <a:spcPts val="600"/>
              </a:spcBef>
            </a:pPr>
            <a:r>
              <a:rPr lang="en-US" sz="1800" b="1" dirty="0"/>
              <a:t>Expected Results:</a:t>
            </a:r>
          </a:p>
          <a:p>
            <a:pPr marL="458736" lvl="1" indent="-285750">
              <a:spcBef>
                <a:spcPts val="600"/>
              </a:spcBef>
              <a:buFont typeface="Arial" panose="020B0604020202020204" pitchFamily="34" charset="0"/>
              <a:buChar char="•"/>
            </a:pPr>
            <a:r>
              <a:rPr lang="en-US" sz="1400" dirty="0"/>
              <a:t>Without </a:t>
            </a:r>
            <a:r>
              <a:rPr lang="en-US" sz="1400" dirty="0" err="1"/>
              <a:t>TagFocus</a:t>
            </a:r>
            <a:r>
              <a:rPr lang="en-US" sz="1400" dirty="0"/>
              <a:t>: Higher count per tag, slower to read ALL tags</a:t>
            </a:r>
          </a:p>
          <a:p>
            <a:pPr marL="458736" lvl="1" indent="-285750">
              <a:spcBef>
                <a:spcPts val="600"/>
              </a:spcBef>
              <a:buFont typeface="Arial" panose="020B0604020202020204" pitchFamily="34" charset="0"/>
              <a:buChar char="•"/>
            </a:pPr>
            <a:r>
              <a:rPr lang="en-US" sz="1400" dirty="0"/>
              <a:t>With </a:t>
            </a:r>
            <a:r>
              <a:rPr lang="en-US" sz="1400" dirty="0" err="1"/>
              <a:t>TagFocus</a:t>
            </a:r>
            <a:r>
              <a:rPr lang="en-US" sz="1400" dirty="0"/>
              <a:t>: Lower count per tag, quicker to read ALL tags</a:t>
            </a:r>
            <a:endParaRPr lang="en-US" dirty="0"/>
          </a:p>
        </p:txBody>
      </p:sp>
    </p:spTree>
    <p:extLst>
      <p:ext uri="{BB962C8B-B14F-4D97-AF65-F5344CB8AC3E}">
        <p14:creationId xmlns:p14="http://schemas.microsoft.com/office/powerpoint/2010/main" val="89782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90C1F-1557-EC6E-54D1-13FB523A1F5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AD5321-2726-FF49-CEED-2C01C40862A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6F8D7DD-8062-E8D1-9EA0-0741298FC23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2A8313E-9C6E-620D-60B0-C74AEE41099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B067EEE-E9C0-3DD9-CA7E-145A54E3A0D0}"/>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1. Setup Tags for Demo </a:t>
            </a:r>
          </a:p>
          <a:p>
            <a:pPr marL="515886" lvl="1" indent="-342900">
              <a:spcBef>
                <a:spcPts val="600"/>
              </a:spcBef>
            </a:pPr>
            <a:r>
              <a:rPr lang="en-US" sz="1600" dirty="0"/>
              <a:t>Arrange Gen2X-enabled tags in the test area </a:t>
            </a:r>
          </a:p>
          <a:p>
            <a:pPr marL="515886" lvl="1" indent="-342900">
              <a:spcBef>
                <a:spcPts val="600"/>
              </a:spcBef>
            </a:pPr>
            <a:r>
              <a:rPr lang="en-US" sz="1600" dirty="0"/>
              <a:t>Note the total number of tags available </a:t>
            </a:r>
          </a:p>
          <a:p>
            <a:r>
              <a:rPr lang="en-US" sz="1600" b="1" dirty="0"/>
              <a:t>2. Inventory </a:t>
            </a:r>
            <a:r>
              <a:rPr lang="en-US" sz="1600" b="1" i="1" u="sng" dirty="0"/>
              <a:t>Without </a:t>
            </a:r>
            <a:r>
              <a:rPr lang="en-US" sz="1600" b="1" i="1" u="sng" dirty="0" err="1"/>
              <a:t>TagFocus</a:t>
            </a:r>
            <a:r>
              <a:rPr lang="en-US" sz="1600" b="1" i="1" u="sng" dirty="0"/>
              <a:t> </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checkbox is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CDCB9A98-70ED-F907-F38F-EEDE52EC06D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58255" y="1312551"/>
            <a:ext cx="2036396" cy="4072793"/>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A5C4066F-F7A1-0929-7394-9DD4E032D5B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255318" y="2228446"/>
            <a:ext cx="2038817" cy="40727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94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84CB5-82D0-AA8A-156C-C89747DE4DAB}"/>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61FF856-755D-A014-F79E-AB83143DC9E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C7829DC-59F0-3E9C-38D0-58E90ACBEE67}"/>
              </a:ext>
            </a:extLst>
          </p:cNvPr>
          <p:cNvSpPr>
            <a:spLocks noGrp="1"/>
          </p:cNvSpPr>
          <p:nvPr>
            <p:ph type="ctrTitle"/>
          </p:nvPr>
        </p:nvSpPr>
        <p:spPr>
          <a:xfrm>
            <a:off x="457198" y="3130630"/>
            <a:ext cx="10440188" cy="1749135"/>
          </a:xfrm>
        </p:spPr>
        <p:txBody>
          <a:bodyPr/>
          <a:lstStyle/>
          <a:p>
            <a:r>
              <a:rPr lang="sv-SE" b="1" dirty="0">
                <a:solidFill>
                  <a:srgbClr val="1F69FF"/>
                </a:solidFill>
              </a:rPr>
              <a:t>Zebra RFID + Gen2X:  Android SDK Overview</a:t>
            </a:r>
          </a:p>
        </p:txBody>
      </p:sp>
    </p:spTree>
    <p:extLst>
      <p:ext uri="{BB962C8B-B14F-4D97-AF65-F5344CB8AC3E}">
        <p14:creationId xmlns:p14="http://schemas.microsoft.com/office/powerpoint/2010/main" val="174959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79AD4-DCCB-0C9A-D283-4B061DD6D33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8D2075-AC1D-CBAA-D5F7-C2977F0C37F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9A2B58-3768-7E1A-6591-501A7D0ED20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4A546E0-4412-00EC-0BFB-D16DE1F91FE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D3A22F1-A3CC-7CE8-21BB-A889FBFB97F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3. Inventory </a:t>
            </a:r>
            <a:r>
              <a:rPr lang="en-US" sz="1600" b="1" i="1" u="sng" dirty="0"/>
              <a:t>With </a:t>
            </a:r>
            <a:r>
              <a:rPr lang="en-US" sz="1600" b="1" i="1" u="sng" dirty="0" err="1"/>
              <a:t>TagFocus</a:t>
            </a:r>
            <a:r>
              <a:rPr lang="en-US" sz="1600" b="1" i="1" u="sng" dirty="0"/>
              <a:t> </a:t>
            </a:r>
          </a:p>
          <a:p>
            <a:pPr marL="458736" lvl="1" indent="-285750">
              <a:spcBef>
                <a:spcPts val="600"/>
              </a:spcBef>
            </a:pPr>
            <a:r>
              <a:rPr lang="en-US" sz="1400" dirty="0"/>
              <a:t>Clear the results using the Clear button</a:t>
            </a:r>
          </a:p>
          <a:p>
            <a:pPr marL="458736" lvl="1" indent="-285750">
              <a:spcBef>
                <a:spcPts val="600"/>
              </a:spcBef>
            </a:pPr>
            <a:r>
              <a:rPr lang="en-US" sz="1400" dirty="0"/>
              <a:t>Select the </a:t>
            </a:r>
            <a:r>
              <a:rPr lang="en-US" sz="1400" dirty="0" err="1"/>
              <a:t>TagFocus</a:t>
            </a:r>
            <a:r>
              <a:rPr lang="en-US" sz="1400" dirty="0"/>
              <a:t> checkbox to enable </a:t>
            </a:r>
            <a:r>
              <a:rPr lang="en-US" sz="1400" dirty="0" err="1"/>
              <a:t>TagFocus</a:t>
            </a:r>
            <a:r>
              <a:rPr lang="en-US" sz="1400" dirty="0"/>
              <a: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be 1 with some tags reading 2-3x if they do not receive the select command in the first round)</a:t>
            </a:r>
          </a:p>
          <a:p>
            <a:pPr marL="633309" lvl="2" indent="-285750">
              <a:spcBef>
                <a:spcPts val="600"/>
              </a:spcBef>
            </a:pPr>
            <a:endParaRPr lang="en-US" sz="1200" dirty="0"/>
          </a:p>
          <a:p>
            <a:endParaRPr lang="en-US" sz="1800" dirty="0"/>
          </a:p>
          <a:p>
            <a:endParaRPr lang="en-US" sz="1400" dirty="0"/>
          </a:p>
          <a:p>
            <a:endParaRPr lang="en-US" sz="1400" dirty="0"/>
          </a:p>
        </p:txBody>
      </p:sp>
      <p:pic>
        <p:nvPicPr>
          <p:cNvPr id="7" name="Picture 6">
            <a:extLst>
              <a:ext uri="{FF2B5EF4-FFF2-40B4-BE49-F238E27FC236}">
                <a16:creationId xmlns:a16="http://schemas.microsoft.com/office/drawing/2014/main" id="{E1F85ABF-6606-5951-D72F-4C05C531BB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55693" y="885079"/>
            <a:ext cx="2543920" cy="5087840"/>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6831B58F-EF19-9006-153B-64DC45ABDD27}"/>
              </a:ext>
            </a:extLst>
          </p:cNvPr>
          <p:cNvSpPr txBox="1"/>
          <p:nvPr/>
        </p:nvSpPr>
        <p:spPr>
          <a:xfrm>
            <a:off x="448508" y="4874561"/>
            <a:ext cx="7852212" cy="1661993"/>
          </a:xfrm>
          <a:prstGeom prst="rect">
            <a:avLst/>
          </a:prstGeom>
          <a:noFill/>
        </p:spPr>
        <p:txBody>
          <a:bodyPr wrap="square">
            <a:spAutoFit/>
          </a:bodyPr>
          <a:lstStyle/>
          <a:p>
            <a:pPr>
              <a:spcBef>
                <a:spcPts val="600"/>
              </a:spcBef>
            </a:pPr>
            <a:r>
              <a:rPr lang="en-US" sz="1600" b="1" dirty="0">
                <a:latin typeface="Zebra Sans" pitchFamily="50" charset="0"/>
              </a:rPr>
              <a:t>4.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Was there a difference in the total number of tags read?</a:t>
            </a:r>
          </a:p>
          <a:p>
            <a:pPr marL="457200" indent="-285750">
              <a:spcBef>
                <a:spcPts val="600"/>
              </a:spcBef>
              <a:buFont typeface="Arial" panose="020B0604020202020204" pitchFamily="34" charset="0"/>
              <a:buChar char="•"/>
            </a:pPr>
            <a:r>
              <a:rPr lang="en-US" sz="1400" dirty="0">
                <a:latin typeface="Zebra Sans" pitchFamily="50" charset="0"/>
              </a:rPr>
              <a:t>Did </a:t>
            </a:r>
            <a:r>
              <a:rPr lang="en-US" sz="1400" dirty="0" err="1">
                <a:latin typeface="Zebra Sans" pitchFamily="50" charset="0"/>
              </a:rPr>
              <a:t>TagFocus</a:t>
            </a:r>
            <a:r>
              <a:rPr lang="en-US" sz="1400" dirty="0">
                <a:latin typeface="Zebra Sans" pitchFamily="50" charset="0"/>
              </a:rPr>
              <a:t> result in less reads/tag?</a:t>
            </a:r>
          </a:p>
          <a:p>
            <a:pPr marL="457200" indent="-285750">
              <a:spcBef>
                <a:spcPts val="600"/>
              </a:spcBef>
              <a:buFont typeface="Arial" panose="020B0604020202020204" pitchFamily="34" charset="0"/>
              <a:buChar char="•"/>
            </a:pPr>
            <a:r>
              <a:rPr lang="en-US" sz="1400" dirty="0">
                <a:latin typeface="Zebra Sans" pitchFamily="50" charset="0"/>
              </a:rPr>
              <a:t>Were all tags read faster with </a:t>
            </a:r>
            <a:r>
              <a:rPr lang="en-US" sz="1400" dirty="0" err="1">
                <a:latin typeface="Zebra Sans" pitchFamily="50" charset="0"/>
              </a:rPr>
              <a:t>TagFocus</a:t>
            </a:r>
            <a:r>
              <a:rPr lang="en-US" sz="1400" dirty="0">
                <a:latin typeface="Zebra Sans" pitchFamily="50" charset="0"/>
              </a:rPr>
              <a:t> enabled?</a:t>
            </a:r>
          </a:p>
          <a:p>
            <a:pPr marL="171450">
              <a:spcBef>
                <a:spcPts val="600"/>
              </a:spcBef>
            </a:pPr>
            <a:r>
              <a:rPr lang="en-US" sz="1200" i="1" dirty="0">
                <a:latin typeface="Zebra Sans" pitchFamily="50" charset="0"/>
              </a:rPr>
              <a:t>Note: In low-density tag environments, the benefit of </a:t>
            </a:r>
            <a:r>
              <a:rPr lang="en-US" sz="1200" i="1" dirty="0" err="1">
                <a:latin typeface="Zebra Sans" pitchFamily="50" charset="0"/>
              </a:rPr>
              <a:t>TagFocus</a:t>
            </a:r>
            <a:r>
              <a:rPr lang="en-US" sz="1200" i="1" dirty="0">
                <a:latin typeface="Zebra Sans" pitchFamily="50" charset="0"/>
              </a:rPr>
              <a:t> may not be perceptible because the reader can already handle the limited number of tags without significant redundancy or delays.</a:t>
            </a:r>
          </a:p>
        </p:txBody>
      </p:sp>
    </p:spTree>
    <p:extLst>
      <p:ext uri="{BB962C8B-B14F-4D97-AF65-F5344CB8AC3E}">
        <p14:creationId xmlns:p14="http://schemas.microsoft.com/office/powerpoint/2010/main" val="197994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D2013-2EC6-1058-9C52-419E8F8F5A92}"/>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9B7D936-09DA-A510-51C9-E45CD9E387C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167B65B1-C525-73D0-01BB-29A4B345F7DA}"/>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 Quieting</a:t>
            </a:r>
          </a:p>
        </p:txBody>
      </p:sp>
    </p:spTree>
    <p:extLst>
      <p:ext uri="{BB962C8B-B14F-4D97-AF65-F5344CB8AC3E}">
        <p14:creationId xmlns:p14="http://schemas.microsoft.com/office/powerpoint/2010/main" val="324077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23A2-BBB8-94F0-8451-602B15DEB83B}"/>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813D0F9-E969-36D3-CA6A-240CCEDF7131}"/>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F8DAA4F-9557-7F03-BEC6-4856011F3AC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12D7E26-C504-74BD-76E9-837CA76FD7C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D8F6AED-B745-DC57-7ABA-25189375B9E5}"/>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800" b="1" dirty="0"/>
              <a:t>What is Tag Quieting?</a:t>
            </a:r>
            <a:endParaRPr lang="en-US" sz="1800" dirty="0"/>
          </a:p>
          <a:p>
            <a:pPr marL="517525" lvl="1" indent="-171450"/>
            <a:r>
              <a:rPr lang="en-US" sz="1600" dirty="0"/>
              <a:t>Tag Quieting provides a dynamic solution to tag clutter by </a:t>
            </a:r>
            <a:r>
              <a:rPr lang="en-US" sz="1600" u="sng" dirty="0"/>
              <a:t>allowing system integrators to control when tags participate in inventory rounds</a:t>
            </a:r>
            <a:r>
              <a:rPr lang="en-US" sz="1600" dirty="0"/>
              <a:t>, Quieting individual tags reduces the total number of tags responding in an inventory round, which results in performance improvements.</a:t>
            </a:r>
          </a:p>
          <a:p>
            <a:r>
              <a:rPr lang="en-US" sz="1800" b="1" dirty="0"/>
              <a:t>When to use Tag Quieting?</a:t>
            </a:r>
          </a:p>
          <a:p>
            <a:pPr marL="517525" lvl="1" indent="-171450"/>
            <a:r>
              <a:rPr lang="en-US" sz="1600" dirty="0"/>
              <a:t>A medium- to large-sized tag population (100+ tags)</a:t>
            </a:r>
          </a:p>
          <a:p>
            <a:pPr marL="517525" lvl="1" indent="-171450"/>
            <a:r>
              <a:rPr lang="en-US" sz="1600" dirty="0"/>
              <a:t>A requirement for multiple tag events involving the same tag(s)</a:t>
            </a:r>
          </a:p>
          <a:p>
            <a:pPr marL="517525" lvl="1" indent="-171450"/>
            <a:r>
              <a:rPr lang="en-US" sz="1600" dirty="0"/>
              <a:t>The presence of a subpopulation of tags that can be identified as strays or meet defined criteria suitable for quieting</a:t>
            </a:r>
            <a:endParaRPr lang="en-US" dirty="0"/>
          </a:p>
          <a:p>
            <a:pPr marL="0" lvl="1" indent="0">
              <a:spcBef>
                <a:spcPts val="1800"/>
              </a:spcBef>
              <a:buNone/>
            </a:pPr>
            <a:r>
              <a:rPr lang="en-US" sz="1800" b="1" dirty="0"/>
              <a:t>How does Tag Quieting differ from </a:t>
            </a:r>
            <a:r>
              <a:rPr lang="en-US" sz="1800" b="1" dirty="0" err="1"/>
              <a:t>TagFocus</a:t>
            </a:r>
            <a:r>
              <a:rPr lang="en-US" sz="1800" b="1" dirty="0"/>
              <a:t>?</a:t>
            </a:r>
            <a:endParaRPr lang="en-US" sz="1400" b="1" dirty="0"/>
          </a:p>
          <a:p>
            <a:pPr marL="517525" lvl="1" indent="-171450"/>
            <a:r>
              <a:rPr lang="en-US" sz="1600" dirty="0" err="1"/>
              <a:t>TagFocus</a:t>
            </a:r>
            <a:r>
              <a:rPr lang="en-US" sz="1600" dirty="0"/>
              <a:t> uses a fixed configuration to suppress tags for faster inventory rates, while Tag Quieting provides a more configurable approach (designed to augment an existing solution), allowing users to dynamically control when tags participate in inventory rounds for greater flexibility in managing tag populations.  </a:t>
            </a:r>
            <a:endParaRPr lang="en-US" sz="1600"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264447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C6751-483A-BCB3-CA83-F2D4A8D573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46DCC66-E79C-3117-FB03-9CC59E4520F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C40B8C72-10A0-0E64-7EE4-9FE8F91A97A0}"/>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6AC3885-544C-7E29-AF0F-079C2F06B61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236C9B9-8742-A2C1-4FFE-2D7982DE59FB}"/>
              </a:ext>
            </a:extLst>
          </p:cNvPr>
          <p:cNvSpPr txBox="1">
            <a:spLocks/>
          </p:cNvSpPr>
          <p:nvPr/>
        </p:nvSpPr>
        <p:spPr>
          <a:xfrm>
            <a:off x="448508" y="1584960"/>
            <a:ext cx="99858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endParaRPr lang="en-US" sz="2000" b="1" dirty="0"/>
          </a:p>
          <a:p>
            <a:pPr marL="0" lvl="1" indent="0">
              <a:buNone/>
            </a:pPr>
            <a:r>
              <a:rPr lang="en-US" sz="1800" b="1" dirty="0"/>
              <a:t>How to Demo:</a:t>
            </a:r>
            <a:endParaRPr lang="en-US" sz="1800" dirty="0"/>
          </a:p>
          <a:p>
            <a:pPr marL="174573" lvl="2" indent="0">
              <a:buNone/>
            </a:pPr>
            <a:r>
              <a:rPr lang="en-US" dirty="0"/>
              <a:t>This demonstrates the functionality to quiet and unquiet tags.  To use Tag Quieting effectively, your application will need to decide which tags to quiet and when – such as after specific reads, location changes, manifest matches, or high RSSI. Quieting can be triggered by inventory rounds, time intervals, new tags, or cycle time limits.</a:t>
            </a:r>
          </a:p>
          <a:p>
            <a:pPr marL="517473" lvl="2" indent="-342900">
              <a:buFont typeface="+mj-lt"/>
              <a:buAutoNum type="arabicPeriod"/>
            </a:pPr>
            <a:r>
              <a:rPr lang="en-US" dirty="0"/>
              <a:t>Setup Gen2X Enabled Tags (recommend at least 100 tags)</a:t>
            </a:r>
          </a:p>
          <a:p>
            <a:pPr marL="517473" lvl="2" indent="-342900">
              <a:buFont typeface="+mj-lt"/>
              <a:buAutoNum type="arabicPeriod"/>
            </a:pPr>
            <a:r>
              <a:rPr lang="en-US" dirty="0"/>
              <a:t>Inventory Without Quieted Tags</a:t>
            </a:r>
          </a:p>
          <a:p>
            <a:pPr marL="517473" lvl="2" indent="-342900">
              <a:buFont typeface="+mj-lt"/>
              <a:buAutoNum type="arabicPeriod"/>
            </a:pPr>
            <a:r>
              <a:rPr lang="en-US" dirty="0"/>
              <a:t>Quiet Selected Tags</a:t>
            </a:r>
          </a:p>
          <a:p>
            <a:pPr marL="517473" lvl="2" indent="-342900">
              <a:buFont typeface="+mj-lt"/>
              <a:buAutoNum type="arabicPeriod"/>
            </a:pPr>
            <a:r>
              <a:rPr lang="en-US" dirty="0"/>
              <a:t>Un-quiet Tags</a:t>
            </a:r>
          </a:p>
          <a:p>
            <a:pPr marL="517473" lvl="2" indent="-342900">
              <a:buFont typeface="+mj-lt"/>
              <a:buAutoNum type="arabicPeriod"/>
            </a:pPr>
            <a:r>
              <a:rPr lang="en-US" dirty="0"/>
              <a:t>Observe and Compare Results</a:t>
            </a:r>
          </a:p>
          <a:p>
            <a:r>
              <a:rPr lang="en-US" sz="1800" b="1" dirty="0"/>
              <a:t>Expected Results:</a:t>
            </a:r>
          </a:p>
          <a:p>
            <a:pPr marL="458736" lvl="1" indent="-285750"/>
            <a:r>
              <a:rPr lang="en-US" sz="1400" dirty="0"/>
              <a:t>Without Tag Quieting: Most tags will have multiple reads with some tags having very high read/sec and others having very low reads/sec</a:t>
            </a:r>
          </a:p>
          <a:p>
            <a:pPr marL="458736" lvl="1" indent="-285750"/>
            <a:r>
              <a:rPr lang="en-US" sz="1400" dirty="0"/>
              <a:t>With Tag Quieting: Quieted Tags have no reads after quieting, there may be an increase in counts and read/sec for un-quieted tags</a:t>
            </a: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151496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4B191-F091-61A8-5F56-9FD6946AB3D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5DE6DA3-4886-C981-26AE-68E25CE0048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568A6C54-77C8-1E82-35D6-8BA93243F6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B564F3-33F0-5ECC-625D-D19C2D211D84}"/>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7918E6-593A-A448-03C0-7E9EBF5D6DF3}"/>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1. Setup tags for Demo </a:t>
            </a:r>
          </a:p>
          <a:p>
            <a:pPr marL="515886" lvl="1" indent="-342900">
              <a:spcBef>
                <a:spcPts val="600"/>
              </a:spcBef>
            </a:pPr>
            <a:r>
              <a:rPr lang="en-US" sz="1600" dirty="0"/>
              <a:t>Arrange Gen2X-enabled tags in the test area</a:t>
            </a:r>
          </a:p>
          <a:p>
            <a:pPr marL="515886" lvl="1" indent="-342900">
              <a:spcBef>
                <a:spcPts val="600"/>
              </a:spcBef>
            </a:pPr>
            <a:r>
              <a:rPr lang="en-US" sz="1600" dirty="0"/>
              <a:t>Note the total number of tags available </a:t>
            </a:r>
          </a:p>
          <a:p>
            <a:r>
              <a:rPr lang="en-US" sz="1600" b="1" dirty="0"/>
              <a:t>2. Inventory </a:t>
            </a:r>
            <a:r>
              <a:rPr lang="en-US" sz="1600" b="1" i="1" u="sng" dirty="0"/>
              <a:t>Without Quie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1" name="Picture 10">
            <a:extLst>
              <a:ext uri="{FF2B5EF4-FFF2-40B4-BE49-F238E27FC236}">
                <a16:creationId xmlns:a16="http://schemas.microsoft.com/office/drawing/2014/main" id="{E2AF2EE8-26BA-B1F1-C0AC-4E95AE6BEA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8339" y="926612"/>
            <a:ext cx="2543921" cy="5087841"/>
          </a:xfrm>
          <a:prstGeom prst="rect">
            <a:avLst/>
          </a:prstGeom>
        </p:spPr>
      </p:pic>
    </p:spTree>
    <p:extLst>
      <p:ext uri="{BB962C8B-B14F-4D97-AF65-F5344CB8AC3E}">
        <p14:creationId xmlns:p14="http://schemas.microsoft.com/office/powerpoint/2010/main" val="154763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664F5-CE2B-F293-9B3F-08BCC8204AC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1A92057-DF37-18EB-4D4B-FFEED35CA45B}"/>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160E520-0EB3-37E1-5B4C-18B78F4DC91D}"/>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837BB99-78A6-BEBD-10FE-1638DC78C518}"/>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B96F964-9BE3-8B5C-26B5-6D3D97918720}"/>
              </a:ext>
            </a:extLst>
          </p:cNvPr>
          <p:cNvSpPr txBox="1">
            <a:spLocks/>
          </p:cNvSpPr>
          <p:nvPr/>
        </p:nvSpPr>
        <p:spPr>
          <a:xfrm>
            <a:off x="448508" y="1584960"/>
            <a:ext cx="60775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3a. Quiet Selected Tags (up to 31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Select tags to quiet by checking the box next the EPC Tag ID</a:t>
            </a:r>
          </a:p>
          <a:p>
            <a:pPr marL="458736" lvl="1" indent="-285750">
              <a:spcBef>
                <a:spcPts val="600"/>
              </a:spcBef>
            </a:pPr>
            <a:r>
              <a:rPr lang="en-US" sz="1400" dirty="0"/>
              <a:t>Press the “Quiet’ Button to quiet the tags</a:t>
            </a:r>
          </a:p>
          <a:p>
            <a:pPr marL="458736" lvl="1" indent="-285750">
              <a:spcBef>
                <a:spcPts val="600"/>
              </a:spcBef>
            </a:pPr>
            <a:r>
              <a:rPr lang="en-US" sz="1400" dirty="0"/>
              <a:t>Selected tags will be quieted, changed to Yellow and count set to -1 to differentiate from the other tags.</a:t>
            </a:r>
          </a:p>
          <a:p>
            <a:pPr lvl="1" indent="0">
              <a:spcBef>
                <a:spcPts val="600"/>
              </a:spcBef>
              <a:buNone/>
            </a:pPr>
            <a:r>
              <a:rPr lang="en-US" sz="1400" dirty="0"/>
              <a:t>----OR----- </a:t>
            </a:r>
          </a:p>
          <a:p>
            <a:pPr>
              <a:spcBef>
                <a:spcPts val="600"/>
              </a:spcBef>
            </a:pPr>
            <a:r>
              <a:rPr lang="en-US" sz="1600" b="1" dirty="0"/>
              <a:t>3b. Quiet All Inventoried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From the inventory screen, check the ‘select all’ box at the top of the tag list</a:t>
            </a:r>
          </a:p>
          <a:p>
            <a:pPr marL="458736" lvl="1" indent="-285750">
              <a:spcBef>
                <a:spcPts val="600"/>
              </a:spcBef>
            </a:pPr>
            <a:r>
              <a:rPr lang="en-US" sz="1400" dirty="0"/>
              <a:t>Press the “Quiet’ Button to quiet the tags</a:t>
            </a:r>
          </a:p>
          <a:p>
            <a:pPr marL="633309" lvl="2" indent="-285750">
              <a:spcBef>
                <a:spcPts val="600"/>
              </a:spcBef>
            </a:pPr>
            <a:r>
              <a:rPr lang="en-US" sz="1200" dirty="0"/>
              <a:t>31 non-quieted tags are automatically selected every 2 seconds by default, and tag quieting continues until either the Stop button is pressed, or the timer runs out.   </a:t>
            </a:r>
            <a:r>
              <a:rPr lang="en-US" sz="1200" i="1" dirty="0"/>
              <a:t>Note: The user can also specify a custom timer greater than 2s</a:t>
            </a:r>
          </a:p>
          <a:p>
            <a:pPr lvl="1" indent="0">
              <a:spcBef>
                <a:spcPts val="600"/>
              </a:spcBef>
              <a:buNone/>
            </a:pPr>
            <a:br>
              <a:rPr lang="en-US" sz="801" dirty="0"/>
            </a:br>
            <a:endParaRPr lang="en-US" sz="801" dirty="0"/>
          </a:p>
          <a:p>
            <a:pPr marL="458736" lvl="1" indent="-285750">
              <a:spcBef>
                <a:spcPts val="600"/>
              </a:spcBef>
            </a:pPr>
            <a:endParaRPr lang="en-US" sz="1400" dirty="0"/>
          </a:p>
          <a:p>
            <a:endParaRPr lang="en-US" sz="1400" dirty="0"/>
          </a:p>
          <a:p>
            <a:endParaRPr lang="en-US" sz="1400" dirty="0"/>
          </a:p>
        </p:txBody>
      </p:sp>
      <p:pic>
        <p:nvPicPr>
          <p:cNvPr id="8" name="Picture 7">
            <a:extLst>
              <a:ext uri="{FF2B5EF4-FFF2-40B4-BE49-F238E27FC236}">
                <a16:creationId xmlns:a16="http://schemas.microsoft.com/office/drawing/2014/main" id="{04ABABED-5204-3C9B-FFAE-8F2281140C7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30363" y="1483432"/>
            <a:ext cx="2114550" cy="422910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143147E-5170-5236-1901-E3FE65FA68A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28261" y="1488512"/>
            <a:ext cx="2114550" cy="422910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01702902-DE88-CB91-8758-5E25167BC4D1}"/>
              </a:ext>
            </a:extLst>
          </p:cNvPr>
          <p:cNvSpPr txBox="1"/>
          <p:nvPr/>
        </p:nvSpPr>
        <p:spPr>
          <a:xfrm>
            <a:off x="7230648" y="5790714"/>
            <a:ext cx="1637779" cy="276999"/>
          </a:xfrm>
          <a:prstGeom prst="rect">
            <a:avLst/>
          </a:prstGeom>
          <a:noFill/>
        </p:spPr>
        <p:txBody>
          <a:bodyPr wrap="square">
            <a:spAutoFit/>
          </a:bodyPr>
          <a:lstStyle/>
          <a:p>
            <a:pPr algn="ctr"/>
            <a:r>
              <a:rPr lang="en-US" sz="1200" b="1" dirty="0"/>
              <a:t>Quiet Selected Tags </a:t>
            </a:r>
            <a:endParaRPr lang="en-US" sz="1200" dirty="0"/>
          </a:p>
        </p:txBody>
      </p:sp>
      <p:sp>
        <p:nvSpPr>
          <p:cNvPr id="9" name="TextBox 8">
            <a:extLst>
              <a:ext uri="{FF2B5EF4-FFF2-40B4-BE49-F238E27FC236}">
                <a16:creationId xmlns:a16="http://schemas.microsoft.com/office/drawing/2014/main" id="{498B4806-6B5B-FE11-FCCB-371FBDF3F635}"/>
              </a:ext>
            </a:extLst>
          </p:cNvPr>
          <p:cNvSpPr txBox="1"/>
          <p:nvPr/>
        </p:nvSpPr>
        <p:spPr>
          <a:xfrm>
            <a:off x="9666646" y="5790714"/>
            <a:ext cx="1637779" cy="276999"/>
          </a:xfrm>
          <a:prstGeom prst="rect">
            <a:avLst/>
          </a:prstGeom>
          <a:noFill/>
        </p:spPr>
        <p:txBody>
          <a:bodyPr wrap="square">
            <a:spAutoFit/>
          </a:bodyPr>
          <a:lstStyle/>
          <a:p>
            <a:pPr algn="ctr"/>
            <a:r>
              <a:rPr lang="en-US" sz="1200" b="1" dirty="0"/>
              <a:t>Quiet All Tags </a:t>
            </a:r>
            <a:endParaRPr lang="en-US" sz="1200" dirty="0"/>
          </a:p>
        </p:txBody>
      </p:sp>
    </p:spTree>
    <p:extLst>
      <p:ext uri="{BB962C8B-B14F-4D97-AF65-F5344CB8AC3E}">
        <p14:creationId xmlns:p14="http://schemas.microsoft.com/office/powerpoint/2010/main" val="353775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DA7D3-919F-9094-3945-169418A7B86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73306F2-7BA8-9BB0-0EAC-509F3D3ABE1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F08EAD3-7830-E9E7-9293-39498CC8A20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A1C4456-D872-6AFD-DD4A-1334FD730AC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96521-2A95-DEC4-65A5-C13094A1754D}"/>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4. Un-quiet Tags</a:t>
            </a:r>
            <a:endParaRPr lang="en-US" sz="1600" b="1" i="1" u="sng" dirty="0"/>
          </a:p>
          <a:p>
            <a:pPr marL="458736" lvl="1" indent="-285750">
              <a:spcBef>
                <a:spcPts val="600"/>
              </a:spcBef>
            </a:pPr>
            <a:r>
              <a:rPr lang="en-US" sz="1400" dirty="0"/>
              <a:t>If Inventory is not stopped, press the Stop button</a:t>
            </a:r>
          </a:p>
          <a:p>
            <a:pPr marL="458736" lvl="1" indent="-285750">
              <a:spcBef>
                <a:spcPts val="600"/>
              </a:spcBef>
            </a:pPr>
            <a:r>
              <a:rPr lang="en-US" sz="1400" dirty="0"/>
              <a:t>Select the checkbox </a:t>
            </a:r>
          </a:p>
          <a:p>
            <a:pPr marL="458736" lvl="1" indent="-285750">
              <a:spcBef>
                <a:spcPts val="600"/>
              </a:spcBef>
            </a:pPr>
            <a:r>
              <a:rPr lang="en-US" sz="1400" dirty="0"/>
              <a:t>Select the Un-quiet checkbox to un-quiet tags (checked)</a:t>
            </a:r>
          </a:p>
          <a:p>
            <a:pPr marL="458736" lvl="1" indent="-285750">
              <a:spcBef>
                <a:spcPts val="600"/>
              </a:spcBef>
            </a:pPr>
            <a:r>
              <a:rPr lang="en-US" sz="1400" dirty="0"/>
              <a:t>Click the inventory start button </a:t>
            </a:r>
          </a:p>
          <a:p>
            <a:pPr marL="458736" lvl="1" indent="-285750">
              <a:spcBef>
                <a:spcPts val="600"/>
              </a:spcBef>
            </a:pPr>
            <a:r>
              <a:rPr lang="en-US" sz="1400" dirty="0"/>
              <a:t>All the tags which were quieted will be un-quieted (change from yellow to green/grey)</a:t>
            </a:r>
          </a:p>
          <a:p>
            <a:pPr marL="458736" lvl="1" indent="-285750">
              <a:spcBef>
                <a:spcPts val="600"/>
              </a:spcBef>
            </a:pPr>
            <a:endParaRPr lang="en-US" sz="1400" dirty="0"/>
          </a:p>
          <a:p>
            <a:pPr>
              <a:spcBef>
                <a:spcPts val="600"/>
              </a:spcBef>
            </a:pPr>
            <a:r>
              <a:rPr lang="en-US" sz="1600" b="1" dirty="0">
                <a:latin typeface="Zebra Sans" pitchFamily="50" charset="0"/>
              </a:rPr>
              <a:t>5.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Quieted tags are changed to Yellow and count set to -1 </a:t>
            </a:r>
          </a:p>
          <a:p>
            <a:pPr marL="457200" indent="-285750">
              <a:spcBef>
                <a:spcPts val="600"/>
              </a:spcBef>
              <a:buFont typeface="Arial" panose="020B0604020202020204" pitchFamily="34" charset="0"/>
              <a:buChar char="•"/>
            </a:pPr>
            <a:r>
              <a:rPr lang="en-US" sz="1400" dirty="0">
                <a:latin typeface="Zebra Sans" pitchFamily="50" charset="0"/>
              </a:rPr>
              <a:t>Non-quieted tags will continue to be read and an increase in count and read/sec may be observed.</a:t>
            </a:r>
          </a:p>
          <a:p>
            <a:pPr marL="457200" indent="-285750">
              <a:spcBef>
                <a:spcPts val="600"/>
              </a:spcBef>
              <a:buFont typeface="Arial" panose="020B0604020202020204" pitchFamily="34" charset="0"/>
              <a:buChar char="•"/>
            </a:pPr>
            <a:r>
              <a:rPr lang="en-US" sz="1400" dirty="0">
                <a:solidFill>
                  <a:srgbClr val="212529"/>
                </a:solidFill>
                <a:latin typeface="Zebra Sans" pitchFamily="50" charset="0"/>
              </a:rPr>
              <a:t>Tag Quieting shows the most noticeable difference in environments with </a:t>
            </a:r>
            <a:r>
              <a:rPr lang="en-US" sz="1400" b="1" dirty="0">
                <a:solidFill>
                  <a:srgbClr val="212529"/>
                </a:solidFill>
                <a:latin typeface="Zebra Sans" pitchFamily="50" charset="0"/>
              </a:rPr>
              <a:t>100+ tags</a:t>
            </a:r>
            <a:r>
              <a:rPr lang="en-US" sz="1400" dirty="0">
                <a:solidFill>
                  <a:srgbClr val="212529"/>
                </a:solidFill>
                <a:latin typeface="Zebra Sans" pitchFamily="50" charset="0"/>
              </a:rPr>
              <a:t>, where controlling interference and focusing on relevant tags improves system performance and reduces redundant data processing. In smaller-scale environments, its impact may be less pronounced.</a:t>
            </a:r>
          </a:p>
          <a:p>
            <a:pPr marL="171450">
              <a:spcBef>
                <a:spcPts val="600"/>
              </a:spcBef>
            </a:pPr>
            <a:endParaRPr lang="en-US" sz="1200" dirty="0"/>
          </a:p>
          <a:p>
            <a:endParaRPr lang="en-US" sz="1800" dirty="0"/>
          </a:p>
          <a:p>
            <a:endParaRPr lang="en-US" sz="1400" dirty="0"/>
          </a:p>
          <a:p>
            <a:endParaRPr lang="en-US" sz="1400" dirty="0"/>
          </a:p>
        </p:txBody>
      </p:sp>
      <p:pic>
        <p:nvPicPr>
          <p:cNvPr id="2" name="Picture 1">
            <a:extLst>
              <a:ext uri="{FF2B5EF4-FFF2-40B4-BE49-F238E27FC236}">
                <a16:creationId xmlns:a16="http://schemas.microsoft.com/office/drawing/2014/main" id="{208A7DD9-BEEB-EE9C-F80F-12E0D9EEC6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43799" y="885080"/>
            <a:ext cx="2543920" cy="5087840"/>
          </a:xfrm>
          <a:prstGeom prst="rect">
            <a:avLst/>
          </a:prstGeom>
        </p:spPr>
      </p:pic>
    </p:spTree>
    <p:extLst>
      <p:ext uri="{BB962C8B-B14F-4D97-AF65-F5344CB8AC3E}">
        <p14:creationId xmlns:p14="http://schemas.microsoft.com/office/powerpoint/2010/main" val="146508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D671-47B6-AE5B-BD19-149BCDF4313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E8920A7-D84D-631D-3175-593F7CA73AB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C299D91-31D9-4D36-A0B7-26E6FD4FD16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9F4FB31-3549-C958-A9D3-71ECA03A1F0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1E9B5DD-347A-9E7E-BB08-697932DE837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solidFill>
                  <a:srgbClr val="212529"/>
                </a:solidFill>
                <a:latin typeface="Zebra Sans" pitchFamily="50" charset="0"/>
              </a:rPr>
              <a:t>Custom Tag Quieting </a:t>
            </a:r>
          </a:p>
          <a:p>
            <a:r>
              <a:rPr lang="en-US" sz="1400" dirty="0">
                <a:solidFill>
                  <a:srgbClr val="212529"/>
                </a:solidFill>
                <a:latin typeface="Zebra Sans" pitchFamily="50" charset="0"/>
              </a:rPr>
              <a:t>The demo application provides the ability to manage tag quieting filters – this is not required for basic demonstration of Tag Quieting but may be used by advanced users to test configurations.</a:t>
            </a:r>
          </a:p>
          <a:p>
            <a:r>
              <a:rPr lang="en-US" sz="1400" dirty="0">
                <a:solidFill>
                  <a:srgbClr val="212529"/>
                </a:solidFill>
                <a:latin typeface="Zebra Sans" pitchFamily="50" charset="0"/>
              </a:rPr>
              <a:t>For more information, please see Zebra </a:t>
            </a:r>
            <a:r>
              <a:rPr lang="en-US" sz="1400" dirty="0" err="1">
                <a:solidFill>
                  <a:srgbClr val="212529"/>
                </a:solidFill>
                <a:latin typeface="Zebra Sans" pitchFamily="50" charset="0"/>
              </a:rPr>
              <a:t>TechDocs</a:t>
            </a:r>
            <a:r>
              <a:rPr lang="en-US" sz="1400" dirty="0">
                <a:solidFill>
                  <a:srgbClr val="212529"/>
                </a:solidFill>
                <a:latin typeface="Zebra Sans" pitchFamily="50" charset="0"/>
              </a:rPr>
              <a:t> Tutorials- Impinj Gen2X APIs:  </a:t>
            </a:r>
            <a:r>
              <a:rPr lang="en-US" sz="1400" dirty="0">
                <a:solidFill>
                  <a:srgbClr val="212529"/>
                </a:solidFill>
                <a:latin typeface="Zebra Sans" pitchFamily="50" charset="0"/>
                <a:hlinkClick r:id="rId3"/>
              </a:rPr>
              <a:t>https://techdocs.zebra.com/dcs/rfid/</a:t>
            </a:r>
            <a:endParaRPr lang="en-US" sz="1400" dirty="0">
              <a:solidFill>
                <a:srgbClr val="212529"/>
              </a:solidFill>
              <a:latin typeface="Zebra Sans" pitchFamily="50" charset="0"/>
            </a:endParaRPr>
          </a:p>
          <a:p>
            <a:pPr marL="171450">
              <a:spcBef>
                <a:spcPts val="600"/>
              </a:spcBef>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D3D39A55-EC7A-9605-9D97-C0BFB527E883}"/>
              </a:ext>
            </a:extLst>
          </p:cNvPr>
          <p:cNvPicPr>
            <a:picLocks noChangeAspect="1"/>
          </p:cNvPicPr>
          <p:nvPr/>
        </p:nvPicPr>
        <p:blipFill>
          <a:blip r:embed="rId4"/>
          <a:stretch>
            <a:fillRect/>
          </a:stretch>
        </p:blipFill>
        <p:spPr>
          <a:xfrm>
            <a:off x="8362735" y="926612"/>
            <a:ext cx="2458226" cy="49543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822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E32AC-C6FC-4721-CDBC-7F9B302570E7}"/>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BC5641F-21B8-1113-86DF-416608F5A0B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44284BC4-C228-E086-DFBF-C8AFD0EE82A4}"/>
              </a:ext>
            </a:extLst>
          </p:cNvPr>
          <p:cNvSpPr>
            <a:spLocks noGrp="1"/>
          </p:cNvSpPr>
          <p:nvPr>
            <p:ph type="ctrTitle"/>
          </p:nvPr>
        </p:nvSpPr>
        <p:spPr>
          <a:xfrm>
            <a:off x="457198" y="3130630"/>
            <a:ext cx="9946642" cy="1749135"/>
          </a:xfrm>
        </p:spPr>
        <p:txBody>
          <a:bodyPr/>
          <a:lstStyle/>
          <a:p>
            <a:r>
              <a:rPr lang="sv-SE" b="1" dirty="0">
                <a:solidFill>
                  <a:srgbClr val="1F69FF"/>
                </a:solidFill>
              </a:rPr>
              <a:t>Gen2X Feature Demo:  Protected Mode</a:t>
            </a:r>
          </a:p>
        </p:txBody>
      </p:sp>
    </p:spTree>
    <p:extLst>
      <p:ext uri="{BB962C8B-B14F-4D97-AF65-F5344CB8AC3E}">
        <p14:creationId xmlns:p14="http://schemas.microsoft.com/office/powerpoint/2010/main" val="344211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DC47B-5392-4112-36FB-331B2C79EE1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50059A5-BA32-C828-D8EE-E141418611B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3E8C344-0A12-F6E9-E7BD-6B6D34CB6A2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7A0AAAC-8761-7A3F-0853-7760D0FB6383}"/>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CF341D0-779E-9F28-5F14-B99D65E24BDE}"/>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800" b="1" dirty="0"/>
              <a:t>What is Protected Mode?</a:t>
            </a:r>
            <a:endParaRPr lang="en-US" sz="1800" dirty="0"/>
          </a:p>
          <a:p>
            <a:pPr marL="517525" lvl="1" indent="-171450"/>
            <a:r>
              <a:rPr lang="en-US" sz="1600" dirty="0"/>
              <a:t>Protected Mode is a feature that hides a tag from RFID readers unless the correct 32-bit PIN/Password is provided.</a:t>
            </a:r>
          </a:p>
          <a:p>
            <a:pPr marL="517525" lvl="1" indent="-171450"/>
            <a:r>
              <a:rPr lang="en-US" sz="1600" dirty="0"/>
              <a:t>Protected tags can still be inventoried by readers that supply the correct PIN/Password, and users can toggle the tag's status between protected and unprotected as needed.</a:t>
            </a:r>
          </a:p>
          <a:p>
            <a:r>
              <a:rPr lang="en-US" sz="1800" b="1" dirty="0"/>
              <a:t>When to use Protected Mode?</a:t>
            </a:r>
          </a:p>
          <a:p>
            <a:pPr marL="517525" lvl="1" indent="-171450"/>
            <a:r>
              <a:rPr lang="en-US" sz="1600" dirty="0"/>
              <a:t>Protected Mode is useful for scenarios where controlling access to RFID tag data is critical for security, privacy, or operational efficiency. It is ideal for applications like protecting sensitive data, preventing unauthorized tracking, enhancing privacy, verifying authenticity, securing access control, and streamlining workflows in controlled environments.</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425561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B4168-3CB7-C2A8-B8CE-C03D4550FFA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812C02-A8A6-F5C8-ADB8-B7D4C58DA65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4BE9154-24F3-E3AF-6D8C-3997F0AA6A4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9DF4A1-B38A-40BE-F31A-A3C3F806927A}"/>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6C9249F9-1326-EA11-F922-B7DC236C8632}"/>
              </a:ext>
            </a:extLst>
          </p:cNvPr>
          <p:cNvSpPr>
            <a:spLocks noGrp="1"/>
          </p:cNvSpPr>
          <p:nvPr>
            <p:ph type="body" sz="quarter" idx="13"/>
          </p:nvPr>
        </p:nvSpPr>
        <p:spPr>
          <a:xfrm>
            <a:off x="458667" y="1722752"/>
            <a:ext cx="11408229" cy="4475045"/>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1550" b="1" i="0" u="none" strike="noStrike" kern="1200" cap="none" spc="0" normalizeH="0" baseline="0" noProof="0" dirty="0">
                <a:ln>
                  <a:noFill/>
                </a:ln>
                <a:solidFill>
                  <a:srgbClr val="0073E6"/>
                </a:solidFill>
                <a:effectLst/>
                <a:uLnTx/>
                <a:uFillTx/>
                <a:latin typeface="Zebra Sans" pitchFamily="50" charset="0"/>
              </a:rPr>
              <a:t>Protected Mode </a:t>
            </a:r>
          </a:p>
          <a:p>
            <a:pPr marR="0" lvl="0" algn="l" defTabSz="914126" rtl="0" eaLnBrk="1" fontAlgn="auto" latinLnBrk="0" hangingPunct="1">
              <a:lnSpc>
                <a:spcPct val="100000"/>
              </a:lnSpc>
              <a:spcBef>
                <a:spcPts val="0"/>
              </a:spcBef>
              <a:buClr>
                <a:srgbClr val="0073E6"/>
              </a:buClr>
              <a:buSzTx/>
              <a:tabLst/>
              <a:defRPr/>
            </a:pPr>
            <a:r>
              <a:rPr kumimoji="0" lang="en-US" sz="1550" b="0" i="0" u="none" strike="noStrike" kern="1200" cap="none" spc="0" normalizeH="0" baseline="0" noProof="0" dirty="0">
                <a:ln>
                  <a:noFill/>
                </a:ln>
                <a:solidFill>
                  <a:srgbClr val="242424"/>
                </a:solidFill>
                <a:effectLst/>
                <a:uLnTx/>
                <a:uFillTx/>
                <a:latin typeface="Zebra Sans" pitchFamily="50" charset="0"/>
              </a:rPr>
              <a:t>Impinj Protected Mode is a feature that enhances the security and privacy of RAIN RFID (UHF) tags by preventing unauthorized tracking or access to tag data. This mode allows tags to be read only by trusted readers that have the correct access credentials.</a:t>
            </a:r>
          </a:p>
          <a:p>
            <a:pPr marR="0" lvl="0" algn="l" defTabSz="914126" rtl="0" eaLnBrk="1" fontAlgn="auto" latinLnBrk="0" hangingPunct="1">
              <a:lnSpc>
                <a:spcPct val="100000"/>
              </a:lnSpc>
              <a:spcBef>
                <a:spcPts val="0"/>
              </a:spcBef>
              <a:buClr>
                <a:srgbClr val="0073E6"/>
              </a:buClr>
              <a:buSzTx/>
              <a:tabLst/>
              <a:defRPr/>
            </a:pPr>
            <a:endParaRPr kumimoji="0" lang="en-US" sz="1550"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1550" b="1" i="0" u="none" strike="noStrike" kern="1200" cap="none" spc="0" normalizeH="0" baseline="0" noProof="0" dirty="0" err="1">
                <a:ln>
                  <a:noFill/>
                </a:ln>
                <a:solidFill>
                  <a:srgbClr val="0073E6"/>
                </a:solidFill>
                <a:effectLst/>
                <a:uLnTx/>
                <a:uFillTx/>
                <a:latin typeface="Zebra Sans" pitchFamily="50" charset="0"/>
              </a:rPr>
              <a:t>TagFocus</a:t>
            </a:r>
            <a:endParaRPr kumimoji="0" lang="en-US" sz="1550"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550" b="0" i="0" u="none" strike="noStrike" kern="1200" cap="none" spc="0" normalizeH="0" baseline="0" noProof="0" dirty="0" err="1">
                <a:ln>
                  <a:noFill/>
                </a:ln>
                <a:solidFill>
                  <a:srgbClr val="000000"/>
                </a:solidFill>
                <a:effectLst/>
                <a:uLnTx/>
                <a:uFillTx/>
                <a:latin typeface="Zebra Sans" pitchFamily="50" charset="0"/>
              </a:rPr>
              <a:t>TagFocus</a:t>
            </a:r>
            <a:r>
              <a:rPr kumimoji="0" lang="en-US" sz="1550" b="0" i="0" u="none" strike="noStrike" kern="1200" cap="none" spc="0" normalizeH="0" baseline="0" noProof="0" dirty="0">
                <a:ln>
                  <a:noFill/>
                </a:ln>
                <a:solidFill>
                  <a:srgbClr val="000000"/>
                </a:solidFill>
                <a:effectLst/>
                <a:uLnTx/>
                <a:uFillTx/>
                <a:latin typeface="Zebra Sans" pitchFamily="50" charset="0"/>
              </a:rPr>
              <a:t> suppresses all previously read tags, allowing readers to focus on capturing data from tags that haven't been read yet. 	</a:t>
            </a: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1550" b="1" i="0" u="none" strike="noStrike" kern="1200" cap="none" spc="0" normalizeH="0" baseline="0" noProof="0" dirty="0">
                <a:ln>
                  <a:noFill/>
                </a:ln>
                <a:solidFill>
                  <a:srgbClr val="0073E6"/>
                </a:solidFill>
                <a:effectLst/>
                <a:uLnTx/>
                <a:uFillTx/>
                <a:latin typeface="Zebra Sans" pitchFamily="50" charset="0"/>
              </a:rPr>
              <a:t>Tag Quieting</a:t>
            </a:r>
          </a:p>
          <a:p>
            <a:pPr marR="0" lvl="0" defTabSz="914126" rtl="0" eaLnBrk="1" fontAlgn="auto" latinLnBrk="0" hangingPunct="1">
              <a:lnSpc>
                <a:spcPct val="100000"/>
              </a:lnSpc>
              <a:spcBef>
                <a:spcPts val="0"/>
              </a:spcBef>
              <a:buClr>
                <a:srgbClr val="0073E6"/>
              </a:buClr>
              <a:buSzTx/>
              <a:tabLst/>
              <a:defRPr/>
            </a:pPr>
            <a:r>
              <a:rPr kumimoji="0" lang="en-US" sz="1550" b="0" i="0" u="none" strike="noStrike" kern="1200" cap="none" spc="0" normalizeH="0" baseline="0" noProof="0" dirty="0">
                <a:ln>
                  <a:noFill/>
                </a:ln>
                <a:solidFill>
                  <a:srgbClr val="000000"/>
                </a:solidFill>
                <a:effectLst/>
                <a:uLnTx/>
                <a:uFillTx/>
                <a:latin typeface="Zebra Sans" pitchFamily="50" charset="0"/>
              </a:rPr>
              <a:t>Tag Quieting explicitly mutes selected tags before inventory scans, ensuring they remain silent until reactivated – reducing congestion and improving read performance.</a:t>
            </a:r>
          </a:p>
          <a:p>
            <a:pPr marR="0" lvl="0" algn="l" defTabSz="914126" rtl="0" eaLnBrk="1" fontAlgn="auto" latinLnBrk="0" hangingPunct="1">
              <a:lnSpc>
                <a:spcPct val="100000"/>
              </a:lnSpc>
              <a:spcBef>
                <a:spcPts val="0"/>
              </a:spcBef>
              <a:buClr>
                <a:srgbClr val="0073E6"/>
              </a:buClr>
              <a:buSzTx/>
              <a:tabLst/>
              <a:defRPr/>
            </a:pPr>
            <a:endParaRPr kumimoji="0" lang="en-US" sz="1550" b="0" i="0" u="none" strike="noStrike" kern="1200" cap="none" spc="0" normalizeH="0" baseline="0" noProof="0" dirty="0">
              <a:ln>
                <a:noFill/>
              </a:ln>
              <a:solidFill>
                <a:srgbClr val="000000"/>
              </a:solidFill>
              <a:effectLst/>
              <a:uLnTx/>
              <a:uFillTx/>
              <a:latin typeface="Zebra Sans" pitchFamily="50" charset="0"/>
            </a:endParaRPr>
          </a:p>
          <a:p>
            <a:pPr lvl="0">
              <a:spcBef>
                <a:spcPts val="0"/>
              </a:spcBef>
              <a:spcAft>
                <a:spcPts val="600"/>
              </a:spcAft>
              <a:buClr>
                <a:srgbClr val="0073E6"/>
              </a:buClr>
              <a:defRPr/>
            </a:pPr>
            <a:r>
              <a:rPr lang="en-US" sz="1550" b="1" dirty="0" err="1">
                <a:solidFill>
                  <a:srgbClr val="0073E6"/>
                </a:solidFill>
                <a:latin typeface="Zebra Sans" pitchFamily="50" charset="0"/>
              </a:rPr>
              <a:t>FastID</a:t>
            </a:r>
            <a:endParaRPr lang="en-US" sz="1550" b="1" dirty="0">
              <a:solidFill>
                <a:srgbClr val="0073E6"/>
              </a:solidFill>
              <a:latin typeface="Zebra Sans" pitchFamily="50" charset="0"/>
            </a:endParaRPr>
          </a:p>
          <a:p>
            <a:pPr>
              <a:spcBef>
                <a:spcPts val="0"/>
              </a:spcBef>
              <a:buClr>
                <a:srgbClr val="0073E6"/>
              </a:buClr>
              <a:defRPr/>
            </a:pPr>
            <a:r>
              <a:rPr lang="en-US" sz="1550" dirty="0" err="1"/>
              <a:t>FastID</a:t>
            </a:r>
            <a:r>
              <a:rPr lang="en-US" sz="1550" dirty="0"/>
              <a:t> enables the </a:t>
            </a:r>
            <a:r>
              <a:rPr lang="en-US" sz="1550" dirty="0" err="1"/>
              <a:t>impinj</a:t>
            </a:r>
            <a:r>
              <a:rPr lang="en-US" sz="1550" dirty="0"/>
              <a:t> tags to backscatter their EPC and TID in a single response for inventory.</a:t>
            </a:r>
          </a:p>
          <a:p>
            <a:pPr>
              <a:spcBef>
                <a:spcPts val="0"/>
              </a:spcBef>
              <a:buClr>
                <a:srgbClr val="0073E6"/>
              </a:buClr>
              <a:defRPr/>
            </a:pPr>
            <a:endParaRPr lang="en-US" sz="1550" dirty="0"/>
          </a:p>
          <a:p>
            <a:pPr lvl="0">
              <a:spcBef>
                <a:spcPts val="0"/>
              </a:spcBef>
              <a:spcAft>
                <a:spcPts val="600"/>
              </a:spcAft>
              <a:buClr>
                <a:srgbClr val="0073E6"/>
              </a:buClr>
              <a:defRPr/>
            </a:pPr>
            <a:r>
              <a:rPr lang="en-US" sz="1550" b="1" dirty="0">
                <a:solidFill>
                  <a:srgbClr val="0073E6"/>
                </a:solidFill>
                <a:latin typeface="Zebra Sans" pitchFamily="50" charset="0"/>
              </a:rPr>
              <a:t>Inventory Protocol : Gen2X inventory enhanced performance </a:t>
            </a:r>
          </a:p>
          <a:p>
            <a:pPr>
              <a:spcBef>
                <a:spcPts val="0"/>
              </a:spcBef>
              <a:buClr>
                <a:srgbClr val="0073E6"/>
              </a:buClr>
              <a:defRPr/>
            </a:pPr>
            <a:r>
              <a:rPr lang="en-US" sz="1550" dirty="0"/>
              <a:t>Inventory protocol enables selection of protocol to determine which tags to participate in inventory (e.g., Gen2, Gen2X).</a:t>
            </a: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endParaRPr kumimoji="0" lang="en-US" sz="1550" b="0" i="0" u="none" strike="noStrike" kern="1200" cap="none" spc="0" normalizeH="0" baseline="0" noProof="0" dirty="0">
              <a:ln>
                <a:noFill/>
              </a:ln>
              <a:solidFill>
                <a:srgbClr val="000000"/>
              </a:solidFill>
              <a:effectLst/>
              <a:uLnTx/>
              <a:uFillTx/>
              <a:latin typeface="Zebra Sans" pitchFamily="50" charset="0"/>
            </a:endParaRP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r>
              <a:rPr kumimoji="0" lang="en-US" sz="1550" b="0" i="0" u="none" strike="noStrike" kern="1200" cap="none" spc="0" normalizeH="0" baseline="0" noProof="0" dirty="0">
                <a:ln>
                  <a:noFill/>
                </a:ln>
                <a:solidFill>
                  <a:srgbClr val="000000"/>
                </a:solidFill>
                <a:effectLst/>
                <a:uLnTx/>
                <a:uFillTx/>
                <a:latin typeface="Zebra Sans" pitchFamily="50" charset="0"/>
              </a:rPr>
              <a:t>Supported Devices:  </a:t>
            </a:r>
            <a:r>
              <a:rPr kumimoji="0" lang="en-US" sz="1550" b="1" i="0" u="none" strike="noStrike" kern="1200" cap="none" spc="0" normalizeH="0" baseline="0" noProof="0" dirty="0">
                <a:ln>
                  <a:noFill/>
                </a:ln>
                <a:solidFill>
                  <a:srgbClr val="000000"/>
                </a:solidFill>
                <a:effectLst/>
                <a:uLnTx/>
                <a:uFillTx/>
                <a:latin typeface="Zebra Sans" pitchFamily="50" charset="0"/>
              </a:rPr>
              <a:t>RFD40, RFD90, EM45 and TC53e-RFID, TC22R</a:t>
            </a:r>
          </a:p>
          <a:p>
            <a:pPr marL="342900" indent="-342900">
              <a:buFontTx/>
              <a:buChar char="-"/>
            </a:pPr>
            <a:endParaRPr lang="en-US" sz="1550" dirty="0">
              <a:latin typeface="Zebra Sans" pitchFamily="50" charset="0"/>
            </a:endParaRPr>
          </a:p>
        </p:txBody>
      </p:sp>
      <p:sp>
        <p:nvSpPr>
          <p:cNvPr id="7" name="TextBox 6">
            <a:extLst>
              <a:ext uri="{FF2B5EF4-FFF2-40B4-BE49-F238E27FC236}">
                <a16:creationId xmlns:a16="http://schemas.microsoft.com/office/drawing/2014/main" id="{C6ED83F4-049A-7909-9EEA-9DD19666F26A}"/>
              </a:ext>
            </a:extLst>
          </p:cNvPr>
          <p:cNvSpPr txBox="1"/>
          <p:nvPr/>
        </p:nvSpPr>
        <p:spPr>
          <a:xfrm>
            <a:off x="325103" y="1374793"/>
            <a:ext cx="8442960" cy="400110"/>
          </a:xfrm>
          <a:prstGeom prst="rect">
            <a:avLst/>
          </a:prstGeom>
          <a:noFill/>
        </p:spPr>
        <p:txBody>
          <a:bodyPr wrap="square">
            <a:spAutoFit/>
          </a:bodyPr>
          <a:lstStyle/>
          <a:p>
            <a:r>
              <a:rPr lang="en-US" sz="2000" b="1" dirty="0">
                <a:solidFill>
                  <a:srgbClr val="242424"/>
                </a:solidFill>
                <a:latin typeface="Zebra Sans" pitchFamily="50" charset="0"/>
              </a:rPr>
              <a:t>Zebra’s Android SDK Now Supports Powerful Gen2X Features!</a:t>
            </a:r>
            <a:endParaRPr lang="en-US" sz="2000" b="1" dirty="0"/>
          </a:p>
        </p:txBody>
      </p:sp>
    </p:spTree>
    <p:extLst>
      <p:ext uri="{BB962C8B-B14F-4D97-AF65-F5344CB8AC3E}">
        <p14:creationId xmlns:p14="http://schemas.microsoft.com/office/powerpoint/2010/main" val="219697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781E4-4EE0-5F1C-149C-5098C1BE6E28}"/>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2B21E78-CCC5-D42E-55A2-42A5E90559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C149D92-B41D-C65E-0923-F7E1165723C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A579BEB-CAB0-F49B-32AC-1E81081771C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FDBCB23-15BC-D7C3-75EC-054C9E195FE7}"/>
              </a:ext>
            </a:extLst>
          </p:cNvPr>
          <p:cNvSpPr txBox="1">
            <a:spLocks/>
          </p:cNvSpPr>
          <p:nvPr/>
        </p:nvSpPr>
        <p:spPr>
          <a:xfrm>
            <a:off x="448507" y="1584959"/>
            <a:ext cx="7414072" cy="4951595"/>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endParaRPr lang="en-US" sz="2000" b="1" dirty="0"/>
          </a:p>
          <a:p>
            <a:pPr marL="0" lvl="1" indent="0">
              <a:buNone/>
            </a:pPr>
            <a:r>
              <a:rPr lang="en-US" sz="1800" b="1" dirty="0"/>
              <a:t>How to Demo:</a:t>
            </a:r>
            <a:endParaRPr lang="en-US" sz="1800" dirty="0"/>
          </a:p>
          <a:p>
            <a:pPr marL="174573" lvl="2" indent="0">
              <a:buNone/>
            </a:pPr>
            <a:r>
              <a:rPr lang="en-US" dirty="0"/>
              <a:t>This demonstrates how to protect tags, verify their invisibility without the PIN/Password, inventory them using the correct PIN/Password, and unprotect them.</a:t>
            </a:r>
          </a:p>
          <a:p>
            <a:pPr marL="517473" lvl="2" indent="-342900">
              <a:buFont typeface="+mj-lt"/>
              <a:buAutoNum type="arabicPeriod"/>
            </a:pPr>
            <a:r>
              <a:rPr lang="en-US" dirty="0"/>
              <a:t>Setup Gen2X Enabled Tags </a:t>
            </a:r>
            <a:r>
              <a:rPr lang="en-US" dirty="0">
                <a:highlight>
                  <a:srgbClr val="FFFF00"/>
                </a:highlight>
              </a:rPr>
              <a:t> </a:t>
            </a:r>
          </a:p>
          <a:p>
            <a:pPr marL="517473" lvl="2" indent="-342900">
              <a:buFont typeface="+mj-lt"/>
              <a:buAutoNum type="arabicPeriod"/>
            </a:pPr>
            <a:r>
              <a:rPr lang="en-US" dirty="0"/>
              <a:t>Inventory Without Protected Tags</a:t>
            </a:r>
          </a:p>
          <a:p>
            <a:pPr marL="517473" lvl="2" indent="-342900">
              <a:buFont typeface="+mj-lt"/>
              <a:buAutoNum type="arabicPeriod"/>
            </a:pPr>
            <a:r>
              <a:rPr lang="en-US" dirty="0"/>
              <a:t>Protect Selected Tags</a:t>
            </a:r>
          </a:p>
          <a:p>
            <a:pPr marL="517473" lvl="2" indent="-342900">
              <a:buFont typeface="+mj-lt"/>
              <a:buAutoNum type="arabicPeriod"/>
            </a:pPr>
            <a:r>
              <a:rPr lang="en-US" dirty="0"/>
              <a:t>Inventory w/ Protected Tags Invisible  (demonstrates how protected tags are ‘invisible’ to readers)</a:t>
            </a:r>
          </a:p>
          <a:p>
            <a:pPr marL="517473" lvl="2" indent="-342900">
              <a:buFont typeface="+mj-lt"/>
              <a:buAutoNum type="arabicPeriod"/>
            </a:pPr>
            <a:r>
              <a:rPr lang="en-US" dirty="0"/>
              <a:t>Inventory w/ Protected Tags Visible (demonstrates how protected tags are visible with the correct PIN/Password)</a:t>
            </a:r>
          </a:p>
          <a:p>
            <a:pPr marL="517473" lvl="2" indent="-342900">
              <a:buFont typeface="+mj-lt"/>
              <a:buAutoNum type="arabicPeriod"/>
            </a:pPr>
            <a:r>
              <a:rPr lang="en-US" dirty="0"/>
              <a:t>Clear Protected Tag Configuration </a:t>
            </a:r>
          </a:p>
          <a:p>
            <a:pPr marL="517473" lvl="2" indent="-342900">
              <a:buFont typeface="+mj-lt"/>
              <a:buAutoNum type="arabicPeriod"/>
            </a:pPr>
            <a:r>
              <a:rPr lang="en-US" dirty="0"/>
              <a:t>Unprotect Tags </a:t>
            </a:r>
          </a:p>
          <a:p>
            <a:r>
              <a:rPr lang="en-US" sz="1800" b="1" dirty="0"/>
              <a:t>Expected Results:</a:t>
            </a:r>
          </a:p>
          <a:p>
            <a:pPr marL="458736" lvl="1" indent="-285750"/>
            <a:r>
              <a:rPr lang="en-US" sz="1400" dirty="0"/>
              <a:t>Once tags are protected, they will not be visible to ‘standard’ inventory rounds</a:t>
            </a:r>
          </a:p>
          <a:p>
            <a:pPr marL="458736" lvl="1" indent="-285750"/>
            <a:r>
              <a:rPr lang="en-US" sz="1400" dirty="0"/>
              <a:t>Protected tags are visible with the correct PIN/Password</a:t>
            </a:r>
          </a:p>
          <a:p>
            <a:pPr marL="458736" lvl="1" indent="-285750"/>
            <a:r>
              <a:rPr lang="en-US" sz="1400" dirty="0"/>
              <a:t>Tags can be protected and unprotected multiple times </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F4FF3C3D-276C-99C0-4848-C666B9C196A8}"/>
              </a:ext>
            </a:extLst>
          </p:cNvPr>
          <p:cNvPicPr>
            <a:picLocks noChangeAspect="1"/>
          </p:cNvPicPr>
          <p:nvPr/>
        </p:nvPicPr>
        <p:blipFill>
          <a:blip r:embed="rId3"/>
          <a:stretch>
            <a:fillRect/>
          </a:stretch>
        </p:blipFill>
        <p:spPr>
          <a:xfrm>
            <a:off x="8484533" y="798608"/>
            <a:ext cx="2368525" cy="5260783"/>
          </a:xfrm>
          <a:prstGeom prst="rect">
            <a:avLst/>
          </a:prstGeom>
        </p:spPr>
      </p:pic>
    </p:spTree>
    <p:extLst>
      <p:ext uri="{BB962C8B-B14F-4D97-AF65-F5344CB8AC3E}">
        <p14:creationId xmlns:p14="http://schemas.microsoft.com/office/powerpoint/2010/main" val="13053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9D42E-D65E-3AE3-73E4-E9B5F88FCD6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F286FED-FC14-82E1-B11A-A014F472888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B489244-E2B7-0F25-FF27-11A3191BF43C}"/>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2684AE7-1E1A-4394-E07C-11873FFA4C9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F44DBA6-E11A-48D2-4AC8-F1E300773332}"/>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1. Setup tags for Demo </a:t>
            </a:r>
          </a:p>
          <a:p>
            <a:pPr marL="515886" lvl="1" indent="-342900">
              <a:spcBef>
                <a:spcPts val="600"/>
              </a:spcBef>
            </a:pPr>
            <a:r>
              <a:rPr lang="en-US" sz="1600" dirty="0"/>
              <a:t>Arrange Gen2X-enabled tags in the test area (ensure that none have been previously protected with Protected Mode)</a:t>
            </a:r>
          </a:p>
          <a:p>
            <a:r>
              <a:rPr lang="en-US" sz="1600" b="1" dirty="0"/>
              <a:t>2. Inventory </a:t>
            </a:r>
            <a:r>
              <a:rPr lang="en-US" sz="1600" b="1" i="1" u="sng" dirty="0"/>
              <a:t>Without Protec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t>
            </a:r>
            <a:r>
              <a:rPr lang="en-US" sz="1400" dirty="0" err="1"/>
              <a:t>FastID</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all tags in field of view should display)</a:t>
            </a:r>
          </a:p>
          <a:p>
            <a:pPr lvl="2" indent="0">
              <a:spcBef>
                <a:spcPts val="600"/>
              </a:spcBef>
              <a:buNone/>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96748990-64F6-620E-8BEE-1DBA91F40A52}"/>
              </a:ext>
            </a:extLst>
          </p:cNvPr>
          <p:cNvPicPr>
            <a:picLocks noChangeAspect="1"/>
          </p:cNvPicPr>
          <p:nvPr/>
        </p:nvPicPr>
        <p:blipFill>
          <a:blip r:embed="rId3"/>
          <a:stretch>
            <a:fillRect/>
          </a:stretch>
        </p:blipFill>
        <p:spPr>
          <a:xfrm>
            <a:off x="7715698" y="741686"/>
            <a:ext cx="1955851" cy="431384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709DA978-67A5-FF3B-4F10-3948370CF75A}"/>
              </a:ext>
            </a:extLst>
          </p:cNvPr>
          <p:cNvPicPr>
            <a:picLocks noChangeAspect="1"/>
          </p:cNvPicPr>
          <p:nvPr/>
        </p:nvPicPr>
        <p:blipFill>
          <a:blip r:embed="rId4"/>
          <a:srcRect l="1149"/>
          <a:stretch>
            <a:fillRect/>
          </a:stretch>
        </p:blipFill>
        <p:spPr>
          <a:xfrm>
            <a:off x="9107135" y="1814698"/>
            <a:ext cx="1933378" cy="4309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2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E3EFB-1684-2B80-B0BE-DFFCF0B3EFE4}"/>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C897CA9-846B-EBC4-B44A-9A9168B165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310C37E-D536-2D21-8C26-FCB3839FB05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B5BA118-C3A9-F743-CE4E-25F6CA1D50D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52EB4AA-EA9F-AA4A-35AA-E6B4025B54C2}"/>
              </a:ext>
            </a:extLst>
          </p:cNvPr>
          <p:cNvSpPr txBox="1">
            <a:spLocks/>
          </p:cNvSpPr>
          <p:nvPr/>
        </p:nvSpPr>
        <p:spPr>
          <a:xfrm>
            <a:off x="448508" y="1584960"/>
            <a:ext cx="5914585"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3. Protect Selected Tags</a:t>
            </a:r>
          </a:p>
          <a:p>
            <a:pPr marL="458736" lvl="1" indent="-285750">
              <a:spcBef>
                <a:spcPts val="600"/>
              </a:spcBef>
            </a:pPr>
            <a:r>
              <a:rPr lang="en-US" sz="1400" dirty="0"/>
              <a:t>Select the Protected Mode page from the navigation menu</a:t>
            </a:r>
          </a:p>
          <a:p>
            <a:pPr marL="458736" lvl="1" indent="-285750">
              <a:spcBef>
                <a:spcPts val="600"/>
              </a:spcBef>
            </a:pPr>
            <a:r>
              <a:rPr lang="en-US" sz="1400" dirty="0"/>
              <a:t>Enter the EPC Tag Id (the application will auto complete based on previously inventoried tags)</a:t>
            </a:r>
          </a:p>
          <a:p>
            <a:pPr marL="458736" lvl="1" indent="-285750">
              <a:spcBef>
                <a:spcPts val="600"/>
              </a:spcBef>
            </a:pPr>
            <a:r>
              <a:rPr lang="en-US" sz="1400" dirty="0"/>
              <a:t>Select Mode;  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Protect Success displays to confirm tag is protected</a:t>
            </a:r>
          </a:p>
          <a:p>
            <a:endParaRPr lang="en-US" sz="1400" dirty="0"/>
          </a:p>
        </p:txBody>
      </p:sp>
      <p:pic>
        <p:nvPicPr>
          <p:cNvPr id="9" name="Picture 8">
            <a:extLst>
              <a:ext uri="{FF2B5EF4-FFF2-40B4-BE49-F238E27FC236}">
                <a16:creationId xmlns:a16="http://schemas.microsoft.com/office/drawing/2014/main" id="{4FD5ED09-532D-EC2C-CBE0-5928C4318B6D}"/>
              </a:ext>
            </a:extLst>
          </p:cNvPr>
          <p:cNvPicPr>
            <a:picLocks noChangeAspect="1"/>
          </p:cNvPicPr>
          <p:nvPr/>
        </p:nvPicPr>
        <p:blipFill>
          <a:blip r:embed="rId3"/>
          <a:stretch>
            <a:fillRect/>
          </a:stretch>
        </p:blipFill>
        <p:spPr>
          <a:xfrm>
            <a:off x="7174306" y="1411029"/>
            <a:ext cx="1672833" cy="336222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A97AB1C6-4D35-D5DE-9406-E6890976DF04}"/>
              </a:ext>
            </a:extLst>
          </p:cNvPr>
          <p:cNvPicPr>
            <a:picLocks noChangeAspect="1"/>
          </p:cNvPicPr>
          <p:nvPr/>
        </p:nvPicPr>
        <p:blipFill>
          <a:blip r:embed="rId4"/>
          <a:srcRect l="564" t="4098" r="-564" b="6341"/>
          <a:stretch>
            <a:fillRect/>
          </a:stretch>
        </p:blipFill>
        <p:spPr>
          <a:xfrm>
            <a:off x="9364265" y="1411029"/>
            <a:ext cx="1672833" cy="3362228"/>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167BA8B0-E7D0-E49D-CF8B-9D3266F2C3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25470" y="2968152"/>
            <a:ext cx="303902" cy="320384"/>
          </a:xfrm>
          <a:prstGeom prst="rect">
            <a:avLst/>
          </a:prstGeom>
        </p:spPr>
      </p:pic>
    </p:spTree>
    <p:extLst>
      <p:ext uri="{BB962C8B-B14F-4D97-AF65-F5344CB8AC3E}">
        <p14:creationId xmlns:p14="http://schemas.microsoft.com/office/powerpoint/2010/main" val="46771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CB495-B729-0D68-8C8F-C4E4F9637CC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3D7778F-4B83-1C5D-8B6C-6AE42C3A40F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8F6918-1E39-D066-E6D8-E8C1557FD3C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8353F2A-9C8F-F727-B4F9-C781427E8AD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E9557-EF09-DBAE-1F9E-A4A62A901EAB}"/>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4. Inventory </a:t>
            </a:r>
            <a:r>
              <a:rPr lang="en-US" sz="1600" b="1" i="1" u="sng" dirty="0"/>
              <a:t>With Protected Tags Invisible</a:t>
            </a:r>
          </a:p>
          <a:p>
            <a:pPr lvl="1" indent="0">
              <a:spcBef>
                <a:spcPts val="600"/>
              </a:spcBef>
              <a:buNone/>
            </a:pPr>
            <a:r>
              <a:rPr lang="en-US" sz="1400" dirty="0"/>
              <a:t>This step demonstrates how protected tags are ‘invisible’ to readers that do not provide the PIN/Password</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only unprotected Tags are inventoried and displayed in the list</a:t>
            </a:r>
            <a:endParaRPr lang="en-US" sz="1400" b="1" dirty="0"/>
          </a:p>
        </p:txBody>
      </p:sp>
      <p:pic>
        <p:nvPicPr>
          <p:cNvPr id="9" name="Picture 8">
            <a:extLst>
              <a:ext uri="{FF2B5EF4-FFF2-40B4-BE49-F238E27FC236}">
                <a16:creationId xmlns:a16="http://schemas.microsoft.com/office/drawing/2014/main" id="{D9FA1839-AB55-A5CD-7393-C01CFF3C5C0A}"/>
              </a:ext>
            </a:extLst>
          </p:cNvPr>
          <p:cNvPicPr>
            <a:picLocks noChangeAspect="1"/>
          </p:cNvPicPr>
          <p:nvPr/>
        </p:nvPicPr>
        <p:blipFill>
          <a:blip r:embed="rId3"/>
          <a:stretch>
            <a:fillRect/>
          </a:stretch>
        </p:blipFill>
        <p:spPr>
          <a:xfrm>
            <a:off x="8561862" y="995856"/>
            <a:ext cx="2277929" cy="45859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063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BBC65-B78A-51C3-85AC-0110A632CC8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C360A7C-932C-D073-379A-148E454A955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8EB819D-AE53-7416-A0AF-7C60A881F5D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DBF5B06-8DCC-81A5-D663-7EA72F83B75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F27D548-BBE5-AAFB-001C-18766FEA8894}"/>
              </a:ext>
            </a:extLst>
          </p:cNvPr>
          <p:cNvSpPr txBox="1">
            <a:spLocks/>
          </p:cNvSpPr>
          <p:nvPr/>
        </p:nvSpPr>
        <p:spPr>
          <a:xfrm>
            <a:off x="448508" y="1584960"/>
            <a:ext cx="4821076"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5. Inventory </a:t>
            </a:r>
            <a:r>
              <a:rPr lang="en-US" sz="1600" b="1" i="1" u="sng" dirty="0"/>
              <a:t>With Protected Tags Visible</a:t>
            </a:r>
          </a:p>
          <a:p>
            <a:pPr lvl="1" indent="0">
              <a:spcBef>
                <a:spcPts val="600"/>
              </a:spcBef>
              <a:buNone/>
            </a:pPr>
            <a:r>
              <a:rPr lang="en-US" sz="1400" dirty="0"/>
              <a:t>This step demonstrates how protected tags are visible with the correct PIN/Password.</a:t>
            </a:r>
          </a:p>
          <a:p>
            <a:pPr marL="458736" lvl="1" indent="-285750">
              <a:spcBef>
                <a:spcPts val="600"/>
              </a:spcBef>
            </a:pPr>
            <a:r>
              <a:rPr lang="en-US" sz="1400" dirty="0"/>
              <a:t>From the Protected Mode screen, select Enable Inventory of Protected Tags</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Enable Visibility Success displays to confirm</a:t>
            </a:r>
          </a:p>
          <a:p>
            <a:pPr marL="458736" lvl="1" indent="-285750">
              <a:spcBef>
                <a:spcPts val="600"/>
              </a:spcBef>
            </a:pPr>
            <a:r>
              <a:rPr lang="en-US" sz="1400" dirty="0"/>
              <a:t>Return to Inventory Screen</a:t>
            </a:r>
          </a:p>
          <a:p>
            <a:pPr marL="458736" lvl="1" indent="-285750">
              <a:spcBef>
                <a:spcPts val="600"/>
              </a:spcBef>
            </a:pPr>
            <a:r>
              <a:rPr lang="en-US" sz="1400" dirty="0"/>
              <a:t>Clear the Inventory</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All tags (both protected and unprotected) are inventoried and displayed in the list</a:t>
            </a:r>
            <a:endParaRPr lang="en-US" sz="1400" b="1" dirty="0"/>
          </a:p>
        </p:txBody>
      </p:sp>
      <p:pic>
        <p:nvPicPr>
          <p:cNvPr id="9" name="Picture 8">
            <a:extLst>
              <a:ext uri="{FF2B5EF4-FFF2-40B4-BE49-F238E27FC236}">
                <a16:creationId xmlns:a16="http://schemas.microsoft.com/office/drawing/2014/main" id="{AE05C408-C1CA-334A-BD1C-205E231C6493}"/>
              </a:ext>
            </a:extLst>
          </p:cNvPr>
          <p:cNvPicPr>
            <a:picLocks noChangeAspect="1"/>
          </p:cNvPicPr>
          <p:nvPr/>
        </p:nvPicPr>
        <p:blipFill>
          <a:blip r:embed="rId3"/>
          <a:stretch>
            <a:fillRect/>
          </a:stretch>
        </p:blipFill>
        <p:spPr>
          <a:xfrm>
            <a:off x="6166925" y="1936805"/>
            <a:ext cx="1577553" cy="317593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F01C49B7-AB7C-3292-647B-437AC831AA42}"/>
              </a:ext>
            </a:extLst>
          </p:cNvPr>
          <p:cNvPicPr>
            <a:picLocks noChangeAspect="1"/>
          </p:cNvPicPr>
          <p:nvPr/>
        </p:nvPicPr>
        <p:blipFill>
          <a:blip r:embed="rId4"/>
          <a:stretch>
            <a:fillRect/>
          </a:stretch>
        </p:blipFill>
        <p:spPr>
          <a:xfrm>
            <a:off x="8190572" y="1936805"/>
            <a:ext cx="1582707" cy="317593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EDF9A2BC-D871-E215-0414-5233F45945BA}"/>
              </a:ext>
            </a:extLst>
          </p:cNvPr>
          <p:cNvPicPr>
            <a:picLocks noChangeAspect="1"/>
          </p:cNvPicPr>
          <p:nvPr/>
        </p:nvPicPr>
        <p:blipFill>
          <a:blip r:embed="rId5"/>
          <a:stretch>
            <a:fillRect/>
          </a:stretch>
        </p:blipFill>
        <p:spPr>
          <a:xfrm>
            <a:off x="10182383" y="1936805"/>
            <a:ext cx="1595840" cy="3175931"/>
          </a:xfrm>
          <a:prstGeom prst="rect">
            <a:avLst/>
          </a:prstGeom>
          <a:ln>
            <a:noFill/>
          </a:ln>
          <a:effectLst>
            <a:outerShdw blurRad="292100" dist="139700" dir="2700000" algn="tl" rotWithShape="0">
              <a:srgbClr val="333333">
                <a:alpha val="65000"/>
              </a:srgbClr>
            </a:outerShdw>
          </a:effectLst>
        </p:spPr>
      </p:pic>
      <p:pic>
        <p:nvPicPr>
          <p:cNvPr id="19" name="Graphic 18" descr="Arrow Right with solid fill">
            <a:extLst>
              <a:ext uri="{FF2B5EF4-FFF2-40B4-BE49-F238E27FC236}">
                <a16:creationId xmlns:a16="http://schemas.microsoft.com/office/drawing/2014/main" id="{93A7A89E-03CE-3EB6-9ED2-A9FAA9BD8D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34069" y="3429000"/>
            <a:ext cx="303902" cy="320384"/>
          </a:xfrm>
          <a:prstGeom prst="rect">
            <a:avLst/>
          </a:prstGeom>
        </p:spPr>
      </p:pic>
      <p:pic>
        <p:nvPicPr>
          <p:cNvPr id="20" name="Graphic 19" descr="Arrow Right with solid fill">
            <a:extLst>
              <a:ext uri="{FF2B5EF4-FFF2-40B4-BE49-F238E27FC236}">
                <a16:creationId xmlns:a16="http://schemas.microsoft.com/office/drawing/2014/main" id="{4F624007-1EED-7170-4169-95F66605FE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25880" y="3475152"/>
            <a:ext cx="303902" cy="320384"/>
          </a:xfrm>
          <a:prstGeom prst="rect">
            <a:avLst/>
          </a:prstGeom>
        </p:spPr>
      </p:pic>
    </p:spTree>
    <p:extLst>
      <p:ext uri="{BB962C8B-B14F-4D97-AF65-F5344CB8AC3E}">
        <p14:creationId xmlns:p14="http://schemas.microsoft.com/office/powerpoint/2010/main" val="246102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75F51-B18E-4A60-5615-2968CEAECD1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56E4996-9867-5858-71A8-0C3FE1CEA844}"/>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FF2C8B3-459A-E90A-5EDA-342915258A2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8CF4E66-34CD-6677-74A5-26DED6FFEDA7}"/>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5BB40DE-B995-DF7F-9204-59DDB4AEBA01}"/>
              </a:ext>
            </a:extLst>
          </p:cNvPr>
          <p:cNvSpPr txBox="1">
            <a:spLocks/>
          </p:cNvSpPr>
          <p:nvPr/>
        </p:nvSpPr>
        <p:spPr>
          <a:xfrm>
            <a:off x="448508" y="1584960"/>
            <a:ext cx="4783368"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6. Clear Protected Mode Configuration</a:t>
            </a:r>
          </a:p>
          <a:p>
            <a:pPr marL="458736" lvl="1" indent="-285750">
              <a:spcBef>
                <a:spcPts val="600"/>
              </a:spcBef>
            </a:pPr>
            <a:r>
              <a:rPr lang="en-US" sz="1400" dirty="0"/>
              <a:t>From the Protected Mode </a:t>
            </a:r>
            <a:r>
              <a:rPr lang="en-US" sz="1400" dirty="0" err="1"/>
              <a:t>secreen</a:t>
            </a:r>
            <a:r>
              <a:rPr lang="en-US" sz="1400" dirty="0"/>
              <a:t>, select Clear Protected Mode Configuration</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Disable Visibility Success displays to confirm</a:t>
            </a:r>
          </a:p>
          <a:p>
            <a:pPr marL="458736" lvl="1" indent="-285750">
              <a:spcBef>
                <a:spcPts val="600"/>
              </a:spcBef>
            </a:pPr>
            <a:r>
              <a:rPr lang="en-US" sz="1400" dirty="0"/>
              <a:t>Repeat #4 Inventory With Protected Tags Invisible</a:t>
            </a:r>
            <a:br>
              <a:rPr lang="en-US" sz="1400" dirty="0"/>
            </a:br>
            <a:r>
              <a:rPr lang="en-US" sz="1200" dirty="0"/>
              <a:t>(</a:t>
            </a:r>
            <a:r>
              <a:rPr lang="en-US" sz="1100" b="1" dirty="0"/>
              <a:t>only unprotected Tags are inventoried and displayed in the list)</a:t>
            </a:r>
            <a:endParaRPr lang="en-US" sz="1800" b="1" dirty="0"/>
          </a:p>
          <a:p>
            <a:pPr marL="458736" lvl="1" indent="-285750">
              <a:spcBef>
                <a:spcPts val="600"/>
              </a:spcBef>
            </a:pPr>
            <a:endParaRPr lang="en-US" sz="1400" dirty="0"/>
          </a:p>
          <a:p>
            <a:pPr marL="458736" lvl="1" indent="-285750">
              <a:spcBef>
                <a:spcPts val="600"/>
              </a:spcBef>
            </a:pPr>
            <a:endParaRPr lang="en-US" sz="1400" dirty="0"/>
          </a:p>
          <a:p>
            <a:pPr lvl="1" indent="0">
              <a:spcBef>
                <a:spcPts val="600"/>
              </a:spcBef>
              <a:buNone/>
            </a:pPr>
            <a:r>
              <a:rPr lang="en-US" sz="1400" dirty="0"/>
              <a:t> </a:t>
            </a:r>
            <a:br>
              <a:rPr lang="en-US" sz="1400" dirty="0"/>
            </a:br>
            <a:endParaRPr lang="en-US" sz="1400" dirty="0"/>
          </a:p>
          <a:p>
            <a:pPr marL="458736" lvl="1" indent="-285750">
              <a:spcBef>
                <a:spcPts val="600"/>
              </a:spcBef>
            </a:pPr>
            <a:endParaRPr lang="en-US" sz="1400" dirty="0"/>
          </a:p>
          <a:p>
            <a:endParaRPr lang="en-US" sz="1400" dirty="0"/>
          </a:p>
        </p:txBody>
      </p:sp>
      <p:pic>
        <p:nvPicPr>
          <p:cNvPr id="9" name="Picture 8">
            <a:extLst>
              <a:ext uri="{FF2B5EF4-FFF2-40B4-BE49-F238E27FC236}">
                <a16:creationId xmlns:a16="http://schemas.microsoft.com/office/drawing/2014/main" id="{BCD8BFD5-020F-4991-4B4A-39E0B611B748}"/>
              </a:ext>
            </a:extLst>
          </p:cNvPr>
          <p:cNvPicPr>
            <a:picLocks noChangeAspect="1"/>
          </p:cNvPicPr>
          <p:nvPr/>
        </p:nvPicPr>
        <p:blipFill>
          <a:blip r:embed="rId3"/>
          <a:stretch>
            <a:fillRect/>
          </a:stretch>
        </p:blipFill>
        <p:spPr>
          <a:xfrm>
            <a:off x="5444644" y="1722752"/>
            <a:ext cx="1899491" cy="3811563"/>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E263B7DD-D078-3405-B780-060990AE6E47}"/>
              </a:ext>
            </a:extLst>
          </p:cNvPr>
          <p:cNvPicPr>
            <a:picLocks noChangeAspect="1"/>
          </p:cNvPicPr>
          <p:nvPr/>
        </p:nvPicPr>
        <p:blipFill>
          <a:blip r:embed="rId4"/>
          <a:stretch>
            <a:fillRect/>
          </a:stretch>
        </p:blipFill>
        <p:spPr>
          <a:xfrm>
            <a:off x="7676452" y="1722752"/>
            <a:ext cx="1899491" cy="3811602"/>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3C1803EA-B377-BBF5-B478-EE9BDF34E24C}"/>
              </a:ext>
            </a:extLst>
          </p:cNvPr>
          <p:cNvPicPr>
            <a:picLocks noChangeAspect="1"/>
          </p:cNvPicPr>
          <p:nvPr/>
        </p:nvPicPr>
        <p:blipFill>
          <a:blip r:embed="rId5"/>
          <a:stretch>
            <a:fillRect/>
          </a:stretch>
        </p:blipFill>
        <p:spPr>
          <a:xfrm>
            <a:off x="9889406" y="1722713"/>
            <a:ext cx="1921551" cy="3811602"/>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E96A6D6F-F20B-1CBD-4CD6-495994850C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3696" y="3429000"/>
            <a:ext cx="303902" cy="320384"/>
          </a:xfrm>
          <a:prstGeom prst="rect">
            <a:avLst/>
          </a:prstGeom>
        </p:spPr>
      </p:pic>
      <p:pic>
        <p:nvPicPr>
          <p:cNvPr id="15" name="Graphic 14" descr="Arrow Right with solid fill">
            <a:extLst>
              <a:ext uri="{FF2B5EF4-FFF2-40B4-BE49-F238E27FC236}">
                <a16:creationId xmlns:a16="http://schemas.microsoft.com/office/drawing/2014/main" id="{CF4B2C31-EB1E-B71D-0CD2-5C0AD762C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85504" y="3429000"/>
            <a:ext cx="303902" cy="320384"/>
          </a:xfrm>
          <a:prstGeom prst="rect">
            <a:avLst/>
          </a:prstGeom>
        </p:spPr>
      </p:pic>
    </p:spTree>
    <p:extLst>
      <p:ext uri="{BB962C8B-B14F-4D97-AF65-F5344CB8AC3E}">
        <p14:creationId xmlns:p14="http://schemas.microsoft.com/office/powerpoint/2010/main" val="54512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8BE66-047A-F3F6-93C4-E7188C32F08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6EBFAB5-53E2-7B87-E954-5B31BC208B7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83FE1B8-B3CC-1999-9133-5D7D89DB10B2}"/>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4239BD3-B422-9D2D-7238-806512A56A0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0BE712F-B020-6FE0-CD2D-5E6DE86B3DDF}"/>
              </a:ext>
            </a:extLst>
          </p:cNvPr>
          <p:cNvSpPr txBox="1">
            <a:spLocks/>
          </p:cNvSpPr>
          <p:nvPr/>
        </p:nvSpPr>
        <p:spPr>
          <a:xfrm>
            <a:off x="448508" y="1584960"/>
            <a:ext cx="5012954"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7. Unprotect Selected Tags</a:t>
            </a:r>
          </a:p>
          <a:p>
            <a:pPr marL="458736" lvl="1" indent="-285750">
              <a:spcBef>
                <a:spcPts val="600"/>
              </a:spcBef>
            </a:pPr>
            <a:r>
              <a:rPr lang="en-US" sz="1400" dirty="0"/>
              <a:t>From the Protected Mode screen, enter the EPC Tag ID (the application will auto complete based on previously inventoried tags)</a:t>
            </a:r>
          </a:p>
          <a:p>
            <a:pPr marL="458736" lvl="1" indent="-285750">
              <a:spcBef>
                <a:spcPts val="600"/>
              </a:spcBef>
            </a:pPr>
            <a:r>
              <a:rPr lang="en-US" sz="1400" dirty="0"/>
              <a:t>Select Protect Mode;  Un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Unprotect Success displays to confirm</a:t>
            </a:r>
          </a:p>
          <a:p>
            <a:pPr marL="458736" lvl="1" indent="-285750">
              <a:spcBef>
                <a:spcPts val="600"/>
              </a:spcBef>
            </a:pPr>
            <a:r>
              <a:rPr lang="en-US" sz="1400" dirty="0"/>
              <a:t>Repeat #2 Inventory Without Protected Tags</a:t>
            </a:r>
            <a:br>
              <a:rPr lang="en-US" sz="1400" dirty="0"/>
            </a:br>
            <a:r>
              <a:rPr lang="en-US" sz="1400" dirty="0"/>
              <a:t>(</a:t>
            </a:r>
            <a:r>
              <a:rPr lang="en-US" sz="1400" b="1" dirty="0"/>
              <a:t>all tags in field of view should display)</a:t>
            </a:r>
          </a:p>
          <a:p>
            <a:pPr lvl="1" indent="0">
              <a:spcBef>
                <a:spcPts val="600"/>
              </a:spcBef>
              <a:buNone/>
            </a:pPr>
            <a:r>
              <a:rPr lang="en-US" sz="1400" dirty="0"/>
              <a:t> </a:t>
            </a:r>
          </a:p>
          <a:p>
            <a:pPr marL="458736" lvl="1" indent="-285750">
              <a:spcBef>
                <a:spcPts val="600"/>
              </a:spcBef>
            </a:pPr>
            <a:endParaRPr lang="en-US" sz="1400" dirty="0"/>
          </a:p>
          <a:p>
            <a:pPr marL="458736" lvl="1" indent="-285750">
              <a:spcBef>
                <a:spcPts val="600"/>
              </a:spcBef>
            </a:pPr>
            <a:endParaRPr lang="en-US" sz="1400" dirty="0"/>
          </a:p>
          <a:p>
            <a:endParaRPr lang="en-US" sz="1400" dirty="0"/>
          </a:p>
        </p:txBody>
      </p:sp>
      <p:pic>
        <p:nvPicPr>
          <p:cNvPr id="12" name="Picture 11">
            <a:extLst>
              <a:ext uri="{FF2B5EF4-FFF2-40B4-BE49-F238E27FC236}">
                <a16:creationId xmlns:a16="http://schemas.microsoft.com/office/drawing/2014/main" id="{9DF28C28-D4EF-9B83-A6A5-D94522095394}"/>
              </a:ext>
            </a:extLst>
          </p:cNvPr>
          <p:cNvPicPr>
            <a:picLocks noChangeAspect="1"/>
          </p:cNvPicPr>
          <p:nvPr/>
        </p:nvPicPr>
        <p:blipFill>
          <a:blip r:embed="rId3"/>
          <a:stretch>
            <a:fillRect/>
          </a:stretch>
        </p:blipFill>
        <p:spPr>
          <a:xfrm>
            <a:off x="6559940" y="1722752"/>
            <a:ext cx="2121663" cy="418072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E53B280F-A952-AE52-43A0-376EB5754888}"/>
              </a:ext>
            </a:extLst>
          </p:cNvPr>
          <p:cNvPicPr>
            <a:picLocks noChangeAspect="1"/>
          </p:cNvPicPr>
          <p:nvPr/>
        </p:nvPicPr>
        <p:blipFill>
          <a:blip r:embed="rId4"/>
          <a:stretch>
            <a:fillRect/>
          </a:stretch>
        </p:blipFill>
        <p:spPr>
          <a:xfrm>
            <a:off x="9150857" y="1708838"/>
            <a:ext cx="2121663" cy="4194634"/>
          </a:xfrm>
          <a:prstGeom prst="rect">
            <a:avLst/>
          </a:prstGeom>
          <a:ln>
            <a:noFill/>
          </a:ln>
          <a:effectLst>
            <a:outerShdw blurRad="292100" dist="139700" dir="2700000" algn="tl" rotWithShape="0">
              <a:srgbClr val="333333">
                <a:alpha val="65000"/>
              </a:srgbClr>
            </a:outerShdw>
          </a:effectLst>
        </p:spPr>
      </p:pic>
      <p:pic>
        <p:nvPicPr>
          <p:cNvPr id="15" name="Graphic 14" descr="Arrow Right with solid fill">
            <a:extLst>
              <a:ext uri="{FF2B5EF4-FFF2-40B4-BE49-F238E27FC236}">
                <a16:creationId xmlns:a16="http://schemas.microsoft.com/office/drawing/2014/main" id="{346F3576-3FB5-DFBD-5F90-89C2B3B545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4279" y="3429000"/>
            <a:ext cx="303902" cy="320384"/>
          </a:xfrm>
          <a:prstGeom prst="rect">
            <a:avLst/>
          </a:prstGeom>
        </p:spPr>
      </p:pic>
      <p:sp>
        <p:nvSpPr>
          <p:cNvPr id="16" name="Rectangle 15">
            <a:extLst>
              <a:ext uri="{FF2B5EF4-FFF2-40B4-BE49-F238E27FC236}">
                <a16:creationId xmlns:a16="http://schemas.microsoft.com/office/drawing/2014/main" id="{A95A3A8C-A7C3-7C4A-93FB-F286A2FE9F48}"/>
              </a:ext>
            </a:extLst>
          </p:cNvPr>
          <p:cNvSpPr/>
          <p:nvPr/>
        </p:nvSpPr>
        <p:spPr>
          <a:xfrm>
            <a:off x="9150857" y="2865749"/>
            <a:ext cx="2121663" cy="24509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7689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DB496-810C-C9BA-5641-F8EA4D19BDA1}"/>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30D8C18C-CABD-EFE3-CFF9-921BB6489C6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70C82478-3C9A-CBBB-4FEE-098EFAF5EABB}"/>
              </a:ext>
            </a:extLst>
          </p:cNvPr>
          <p:cNvSpPr>
            <a:spLocks noGrp="1"/>
          </p:cNvSpPr>
          <p:nvPr>
            <p:ph type="ctrTitle"/>
          </p:nvPr>
        </p:nvSpPr>
        <p:spPr>
          <a:xfrm>
            <a:off x="457198" y="3130630"/>
            <a:ext cx="10136779" cy="1749135"/>
          </a:xfrm>
        </p:spPr>
        <p:txBody>
          <a:bodyPr/>
          <a:lstStyle/>
          <a:p>
            <a:r>
              <a:rPr lang="sv-SE" b="1" dirty="0">
                <a:solidFill>
                  <a:srgbClr val="1F69FF"/>
                </a:solidFill>
              </a:rPr>
              <a:t>Gen2X Feature Demo: FastID</a:t>
            </a:r>
          </a:p>
        </p:txBody>
      </p:sp>
    </p:spTree>
    <p:extLst>
      <p:ext uri="{BB962C8B-B14F-4D97-AF65-F5344CB8AC3E}">
        <p14:creationId xmlns:p14="http://schemas.microsoft.com/office/powerpoint/2010/main" val="123103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3208E-306D-17A6-DBB8-5FF05DB77A0B}"/>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E54B053-92DB-CAEB-5CF8-D64083E5D039}"/>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41CAF78-2FC1-6E6B-355E-D6B9F3ECA89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417075A-AB8E-D98A-57C2-3BC1BE2EF7E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8AA5D64-673E-D138-E490-F28FB8545F04}"/>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800" b="1" dirty="0"/>
              <a:t>What is </a:t>
            </a:r>
            <a:r>
              <a:rPr lang="en-US" sz="1800" b="1" dirty="0" err="1"/>
              <a:t>FastID</a:t>
            </a:r>
            <a:r>
              <a:rPr lang="en-US" sz="1800" b="1" dirty="0"/>
              <a:t>?</a:t>
            </a:r>
            <a:endParaRPr lang="en-US" sz="1800" dirty="0"/>
          </a:p>
          <a:p>
            <a:pPr lvl="1"/>
            <a:r>
              <a:rPr lang="en-US" sz="1600" dirty="0" err="1"/>
              <a:t>FastID</a:t>
            </a:r>
            <a:r>
              <a:rPr lang="en-US" sz="1600" dirty="0"/>
              <a:t> enables the </a:t>
            </a:r>
            <a:r>
              <a:rPr lang="en-US" sz="1600" dirty="0" err="1"/>
              <a:t>impinj</a:t>
            </a:r>
            <a:r>
              <a:rPr lang="en-US" sz="1600" dirty="0"/>
              <a:t> tags to backscatter their EPC and TID in a single response for inventory.</a:t>
            </a:r>
          </a:p>
          <a:p>
            <a:pPr marL="0" lvl="1" indent="0">
              <a:buNone/>
            </a:pPr>
            <a:endParaRPr lang="en-US" sz="1600" dirty="0"/>
          </a:p>
          <a:p>
            <a:pPr>
              <a:spcBef>
                <a:spcPts val="600"/>
              </a:spcBef>
            </a:pPr>
            <a:r>
              <a:rPr lang="en-US" sz="1800" b="1" dirty="0"/>
              <a:t>How to Demo:</a:t>
            </a:r>
            <a:endParaRPr lang="en-US" sz="1800" dirty="0"/>
          </a:p>
          <a:p>
            <a:pPr marL="517473" lvl="2" indent="-342900">
              <a:spcBef>
                <a:spcPts val="600"/>
              </a:spcBef>
              <a:buFont typeface="+mj-lt"/>
              <a:buAutoNum type="arabicPeriod"/>
            </a:pPr>
            <a:r>
              <a:rPr lang="en-US" dirty="0"/>
              <a:t>Setup Tags for Demo </a:t>
            </a:r>
          </a:p>
          <a:p>
            <a:pPr marL="517473" lvl="2" indent="-342900">
              <a:spcBef>
                <a:spcPts val="600"/>
              </a:spcBef>
              <a:buFont typeface="+mj-lt"/>
              <a:buAutoNum type="arabicPeriod"/>
            </a:pPr>
            <a:r>
              <a:rPr lang="en-US" dirty="0"/>
              <a:t>Inventory With </a:t>
            </a:r>
            <a:r>
              <a:rPr lang="en-US" dirty="0" err="1"/>
              <a:t>FastID</a:t>
            </a:r>
            <a:endParaRPr lang="en-US" dirty="0"/>
          </a:p>
          <a:p>
            <a:pPr marL="517473" lvl="2" indent="-342900">
              <a:spcBef>
                <a:spcPts val="600"/>
              </a:spcBef>
              <a:buFont typeface="+mj-lt"/>
              <a:buAutoNum type="arabicPeriod"/>
            </a:pPr>
            <a:r>
              <a:rPr lang="en-US" dirty="0"/>
              <a:t>Observe the Results</a:t>
            </a:r>
            <a:endParaRPr lang="en-US" b="1" dirty="0"/>
          </a:p>
          <a:p>
            <a:pPr marL="517473" lvl="2" indent="-342900">
              <a:spcBef>
                <a:spcPts val="600"/>
              </a:spcBef>
              <a:buFont typeface="+mj-lt"/>
              <a:buAutoNum type="arabicPeriod"/>
            </a:pP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
        <p:nvSpPr>
          <p:cNvPr id="10" name="TextBox 9">
            <a:extLst>
              <a:ext uri="{FF2B5EF4-FFF2-40B4-BE49-F238E27FC236}">
                <a16:creationId xmlns:a16="http://schemas.microsoft.com/office/drawing/2014/main" id="{6285EC4F-CD96-3ED9-ACAD-F12CCCC62699}"/>
              </a:ext>
            </a:extLst>
          </p:cNvPr>
          <p:cNvSpPr txBox="1"/>
          <p:nvPr/>
        </p:nvSpPr>
        <p:spPr>
          <a:xfrm>
            <a:off x="448508" y="4481281"/>
            <a:ext cx="6096000" cy="954107"/>
          </a:xfrm>
          <a:prstGeom prst="rect">
            <a:avLst/>
          </a:prstGeom>
          <a:noFill/>
        </p:spPr>
        <p:txBody>
          <a:bodyPr wrap="square">
            <a:spAutoFit/>
          </a:bodyPr>
          <a:lstStyle/>
          <a:p>
            <a:pPr>
              <a:spcBef>
                <a:spcPts val="600"/>
              </a:spcBef>
            </a:pPr>
            <a:r>
              <a:rPr lang="en-US" sz="1800" b="1" dirty="0"/>
              <a:t>Expected Results:</a:t>
            </a:r>
          </a:p>
          <a:p>
            <a:pPr marL="458736" lvl="1" indent="-285750">
              <a:spcBef>
                <a:spcPts val="600"/>
              </a:spcBef>
              <a:buFont typeface="Arial" panose="020B0604020202020204" pitchFamily="34" charset="0"/>
              <a:buChar char="•"/>
            </a:pPr>
            <a:r>
              <a:rPr lang="en-US" sz="1400" dirty="0"/>
              <a:t>Without </a:t>
            </a:r>
            <a:r>
              <a:rPr lang="en-US" sz="1400" dirty="0" err="1"/>
              <a:t>FastID</a:t>
            </a:r>
            <a:r>
              <a:rPr lang="en-US" sz="1400" dirty="0"/>
              <a:t>: EPC is backscattered for inventory</a:t>
            </a:r>
          </a:p>
          <a:p>
            <a:pPr marL="458736" lvl="1" indent="-285750">
              <a:spcBef>
                <a:spcPts val="600"/>
              </a:spcBef>
              <a:buFont typeface="Arial" panose="020B0604020202020204" pitchFamily="34" charset="0"/>
              <a:buChar char="•"/>
            </a:pPr>
            <a:r>
              <a:rPr lang="en-US" sz="1400" dirty="0"/>
              <a:t>With </a:t>
            </a:r>
            <a:r>
              <a:rPr lang="en-US" sz="1400" dirty="0" err="1"/>
              <a:t>FastID</a:t>
            </a:r>
            <a:r>
              <a:rPr lang="en-US" sz="1400" dirty="0"/>
              <a:t>: EPC+TID is backscattered for inventory</a:t>
            </a:r>
            <a:endParaRPr lang="en-US" dirty="0"/>
          </a:p>
        </p:txBody>
      </p:sp>
    </p:spTree>
    <p:extLst>
      <p:ext uri="{BB962C8B-B14F-4D97-AF65-F5344CB8AC3E}">
        <p14:creationId xmlns:p14="http://schemas.microsoft.com/office/powerpoint/2010/main" val="348154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22D8E-BD53-0AB9-D9D6-E771C97D446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5E93D7E-6EA4-B3B6-EBBD-4123FFFF8FF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92C4F15-5547-908E-5453-10F9CC65275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99A2A8C3-90D0-AF16-B83E-F363DFBADC3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8DD92B44-356A-95B7-5C4A-FB2FDAF52ED5}"/>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600" b="1" dirty="0"/>
              <a:t>1. Setup Tags for Demo </a:t>
            </a:r>
          </a:p>
          <a:p>
            <a:pPr marL="515886" lvl="1" indent="-342900">
              <a:spcBef>
                <a:spcPts val="600"/>
              </a:spcBef>
            </a:pPr>
            <a:r>
              <a:rPr lang="en-US" sz="1600" dirty="0"/>
              <a:t>Arrange Gen2X-enabled tags in the test area </a:t>
            </a:r>
          </a:p>
          <a:p>
            <a:r>
              <a:rPr lang="en-US" sz="1600" b="1" dirty="0"/>
              <a:t>2. Inventory </a:t>
            </a:r>
            <a:r>
              <a:rPr lang="en-US" sz="1600" b="1" i="1" u="sng" dirty="0"/>
              <a:t>Without </a:t>
            </a:r>
            <a:r>
              <a:rPr lang="en-US" sz="1600" b="1" i="1" u="sng" dirty="0" err="1"/>
              <a:t>FastID</a:t>
            </a:r>
            <a:r>
              <a:rPr lang="en-US" sz="1600" b="1" i="1" u="sng" dirty="0"/>
              <a:t> </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FastID</a:t>
            </a:r>
            <a:r>
              <a:rPr lang="en-US" sz="1400" dirty="0"/>
              <a:t> checkbox is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3D86FA36-6AC6-4549-7A43-82C5478F6BE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87537" y="1083416"/>
            <a:ext cx="2036220" cy="407244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A2B43FE-A9E6-81F1-BAAE-C5F3222E7D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77525" y="1839320"/>
            <a:ext cx="2038818" cy="4077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0530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BF5B0-DB93-C1FF-6432-81FFF316B90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A552FFD-6D8E-7DFD-71CF-95D721208D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5631882-589A-11E8-F16B-EA4F4FB8656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FC0D240-ACBD-04F2-9310-474E19730E95}"/>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pic>
        <p:nvPicPr>
          <p:cNvPr id="8" name="Picture 7">
            <a:extLst>
              <a:ext uri="{FF2B5EF4-FFF2-40B4-BE49-F238E27FC236}">
                <a16:creationId xmlns:a16="http://schemas.microsoft.com/office/drawing/2014/main" id="{1CD1B1DA-53F2-FB32-47E1-067963A3F8A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6000" y="2549912"/>
            <a:ext cx="1519117" cy="3038234"/>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3668B7C-FF49-D1C2-6823-401567F3050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1618" y="2526122"/>
            <a:ext cx="4535461" cy="2701671"/>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57DED4DC-9D8A-70A1-8A91-487E23D6BB5A}"/>
              </a:ext>
            </a:extLst>
          </p:cNvPr>
          <p:cNvSpPr txBox="1"/>
          <p:nvPr/>
        </p:nvSpPr>
        <p:spPr>
          <a:xfrm>
            <a:off x="492368" y="1714545"/>
            <a:ext cx="2271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42424"/>
                </a:solidFill>
                <a:effectLst/>
                <a:uLnTx/>
                <a:uFillTx/>
                <a:latin typeface="Arial" panose="020B0604020202020204"/>
                <a:ea typeface="+mn-ea"/>
                <a:cs typeface="+mn-cs"/>
              </a:rPr>
              <a:t>TechDocs</a:t>
            </a: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 Tutorials</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85489658-1C5A-D3BF-2583-C455E5CDC4E8}"/>
              </a:ext>
            </a:extLst>
          </p:cNvPr>
          <p:cNvSpPr txBox="1"/>
          <p:nvPr/>
        </p:nvSpPr>
        <p:spPr>
          <a:xfrm>
            <a:off x="5893361" y="1729484"/>
            <a:ext cx="235569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Sample Application + User Guide </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6A69D08-3491-DA3F-F003-1FEE79A1DA36}"/>
              </a:ext>
            </a:extLst>
          </p:cNvPr>
          <p:cNvSpPr txBox="1"/>
          <p:nvPr/>
        </p:nvSpPr>
        <p:spPr>
          <a:xfrm>
            <a:off x="9069440" y="1729484"/>
            <a:ext cx="2972220" cy="30777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73E6"/>
                </a:solidFill>
                <a:effectLst/>
                <a:uLnTx/>
                <a:uFillTx/>
                <a:latin typeface="Arial" panose="020B0604020202020204"/>
                <a:ea typeface="+mn-ea"/>
                <a:cs typeface="+mn-cs"/>
              </a:rPr>
              <a:t>And more!</a:t>
            </a:r>
            <a:endParaRPr kumimoji="0" lang="en-US" sz="1800" b="1" i="1" u="none" strike="noStrike" kern="1200" cap="none" spc="0" normalizeH="0" baseline="0" noProof="0" dirty="0">
              <a:ln>
                <a:noFill/>
              </a:ln>
              <a:solidFill>
                <a:srgbClr val="0073E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rPr>
              <a:t>Gen2X Demo Vide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Optimizing Gen2X with Zebra RFID Readers: Best Practices and Strategi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2D87BD59-4959-C0A1-0BA6-AE093D151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916383" y="2886490"/>
            <a:ext cx="1519116" cy="30382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270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F0BC2-2E0A-C517-EE41-8756CB4CD963}"/>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14652A5-7D78-B851-111F-B4D5E83FA3B4}"/>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DF2F4997-4E85-0852-4F3F-63864FB7385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B1BE95D-FAA6-EAEB-9DC4-2431E6CED552}"/>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8453E70-46BA-E8F5-CC28-6686B1882A0C}"/>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600" b="1" dirty="0"/>
              <a:t>3. Inventory </a:t>
            </a:r>
            <a:r>
              <a:rPr lang="en-US" sz="1600" b="1" i="1" u="sng" dirty="0"/>
              <a:t>With </a:t>
            </a:r>
            <a:r>
              <a:rPr lang="en-US" sz="1600" b="1" i="1" u="sng" dirty="0" err="1"/>
              <a:t>FastID</a:t>
            </a:r>
            <a:r>
              <a:rPr lang="en-US" sz="1600" b="1" i="1" u="sng" dirty="0"/>
              <a:t> </a:t>
            </a:r>
          </a:p>
          <a:p>
            <a:pPr marL="458736" lvl="1" indent="-285750">
              <a:spcBef>
                <a:spcPts val="600"/>
              </a:spcBef>
            </a:pPr>
            <a:r>
              <a:rPr lang="en-US" sz="1400" dirty="0"/>
              <a:t>Clear the results using the Clear button</a:t>
            </a:r>
          </a:p>
          <a:p>
            <a:pPr marL="458736" lvl="1" indent="-285750">
              <a:spcBef>
                <a:spcPts val="600"/>
              </a:spcBef>
            </a:pPr>
            <a:r>
              <a:rPr lang="en-US" sz="1400" dirty="0"/>
              <a:t>Select the </a:t>
            </a:r>
            <a:r>
              <a:rPr lang="en-US" sz="1400" dirty="0" err="1"/>
              <a:t>FastID</a:t>
            </a:r>
            <a:r>
              <a:rPr lang="en-US" sz="1400" dirty="0"/>
              <a:t> checkbox to enable </a:t>
            </a:r>
            <a:r>
              <a:rPr lang="en-US" sz="1400" dirty="0" err="1"/>
              <a:t>FastID</a:t>
            </a:r>
            <a:r>
              <a:rPr lang="en-US" sz="1400" dirty="0"/>
              <a: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lvl="2" indent="0">
              <a:spcBef>
                <a:spcPts val="0"/>
              </a:spcBef>
              <a:buNone/>
            </a:pPr>
            <a:endParaRPr lang="en-US" sz="1200" dirty="0"/>
          </a:p>
          <a:p>
            <a:pPr marL="633309" lvl="2" indent="-285750">
              <a:spcBef>
                <a:spcPts val="600"/>
              </a:spcBef>
            </a:pPr>
            <a:endParaRPr lang="en-US" sz="1200" dirty="0"/>
          </a:p>
          <a:p>
            <a:endParaRPr lang="en-US" sz="1800" dirty="0"/>
          </a:p>
          <a:p>
            <a:endParaRPr lang="en-US" sz="1400" dirty="0"/>
          </a:p>
          <a:p>
            <a:endParaRPr lang="en-US" sz="1400" dirty="0"/>
          </a:p>
        </p:txBody>
      </p:sp>
      <p:pic>
        <p:nvPicPr>
          <p:cNvPr id="7" name="Picture 6">
            <a:extLst>
              <a:ext uri="{FF2B5EF4-FFF2-40B4-BE49-F238E27FC236}">
                <a16:creationId xmlns:a16="http://schemas.microsoft.com/office/drawing/2014/main" id="{65019BC2-672E-3B67-F5BB-D5ABC05AD52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55693" y="885079"/>
            <a:ext cx="2543920" cy="508784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260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14030-B81F-1BD0-632E-1C51C219228C}"/>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08F60E7C-5800-AED9-86C1-E9DBEF392C5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0E3C4F67-0BAA-1D37-6A7E-AD378B9A92E6}"/>
              </a:ext>
            </a:extLst>
          </p:cNvPr>
          <p:cNvSpPr>
            <a:spLocks noGrp="1"/>
          </p:cNvSpPr>
          <p:nvPr>
            <p:ph type="ctrTitle"/>
          </p:nvPr>
        </p:nvSpPr>
        <p:spPr>
          <a:xfrm>
            <a:off x="457198" y="3130630"/>
            <a:ext cx="10136779" cy="1749135"/>
          </a:xfrm>
        </p:spPr>
        <p:txBody>
          <a:bodyPr/>
          <a:lstStyle/>
          <a:p>
            <a:r>
              <a:rPr lang="sv-SE" b="1" dirty="0">
                <a:solidFill>
                  <a:srgbClr val="1F69FF"/>
                </a:solidFill>
              </a:rPr>
              <a:t>Gen2X Feature Demo: Gen2X enhanced inventory performance using Inventory Protocol </a:t>
            </a:r>
          </a:p>
        </p:txBody>
      </p:sp>
    </p:spTree>
    <p:extLst>
      <p:ext uri="{BB962C8B-B14F-4D97-AF65-F5344CB8AC3E}">
        <p14:creationId xmlns:p14="http://schemas.microsoft.com/office/powerpoint/2010/main" val="6885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71DAB-387C-CB38-6997-EBB1EF3F09B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E64D0F5-A241-7EF4-8FEE-E487062AF38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FE29461-6B2A-31B7-A75D-420BCD49C0D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9AA98C8B-BC05-7F38-59E8-F6DFF5D9A7C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24075C30-213E-BB71-7ABF-A7CC34B09311}"/>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517473" lvl="2" indent="-342900">
              <a:spcBef>
                <a:spcPts val="600"/>
              </a:spcBef>
              <a:buFont typeface="+mj-lt"/>
              <a:buAutoNum type="arabicPeriod"/>
            </a:pPr>
            <a:r>
              <a:rPr lang="en-US" dirty="0"/>
              <a:t>Setup Tags for Demo </a:t>
            </a:r>
          </a:p>
          <a:p>
            <a:r>
              <a:rPr lang="sv-SE" sz="2000" b="1" dirty="0">
                <a:solidFill>
                  <a:srgbClr val="1F69FF"/>
                </a:solidFill>
              </a:rPr>
              <a:t>Gen2X Feature Demo: Gen2X enhance inventory performance</a:t>
            </a:r>
          </a:p>
          <a:p>
            <a:r>
              <a:rPr lang="en-US" sz="1800" b="1" dirty="0"/>
              <a:t>What is Inventory Protocol mode?</a:t>
            </a:r>
            <a:endParaRPr lang="en-US" sz="1800" dirty="0"/>
          </a:p>
          <a:p>
            <a:pPr lvl="1"/>
            <a:r>
              <a:rPr lang="en-US" sz="1600" dirty="0"/>
              <a:t>Inventory protocol enables selection of protocol mode to determine which tags to participate in inventory.</a:t>
            </a:r>
          </a:p>
          <a:p>
            <a:pPr lvl="1"/>
            <a:r>
              <a:rPr lang="en-US" sz="1600" dirty="0"/>
              <a:t>SDK supports 3 modes for inventory protocol.</a:t>
            </a:r>
          </a:p>
          <a:p>
            <a:pPr lvl="2"/>
            <a:r>
              <a:rPr lang="en-US" sz="1500" dirty="0"/>
              <a:t>Gen2     :-  Inventory all tags (Gen2 and Gen2X).</a:t>
            </a:r>
          </a:p>
          <a:p>
            <a:pPr lvl="2"/>
            <a:r>
              <a:rPr lang="en-US" sz="1500" dirty="0"/>
              <a:t>Gen2X   :- Inventory only Gen2X tags.</a:t>
            </a:r>
          </a:p>
          <a:p>
            <a:pPr lvl="2"/>
            <a:r>
              <a:rPr lang="en-US" sz="1500" dirty="0"/>
              <a:t>Hybrid   :- Inventory all tags with better read rate,</a:t>
            </a:r>
          </a:p>
          <a:p>
            <a:pPr marL="517473" lvl="2" indent="-342900">
              <a:spcBef>
                <a:spcPts val="600"/>
              </a:spcBef>
              <a:buFont typeface="+mj-lt"/>
              <a:buAutoNum type="arabicPeriod"/>
            </a:pPr>
            <a:endParaRPr lang="en-US" b="1" dirty="0"/>
          </a:p>
          <a:p>
            <a:pPr marL="174573" lvl="2" indent="0">
              <a:buNone/>
            </a:pPr>
            <a:r>
              <a:rPr lang="en-US" dirty="0"/>
              <a:t>Note :  </a:t>
            </a:r>
            <a:r>
              <a:rPr lang="en-US" dirty="0" err="1"/>
              <a:t>FastID</a:t>
            </a:r>
            <a:r>
              <a:rPr lang="en-US" dirty="0"/>
              <a:t> feature is not supported when inventory protocol is set to Gen2X mode .</a:t>
            </a:r>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40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F7899-1D74-92EC-0DE4-CDAA6C5CDFE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7F9429-4BA5-C270-9EE0-E6DA5BCE81E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8A0DD8E7-1864-44F7-1414-8933A51BBAED}"/>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C59E0C2-4B85-8F23-2141-104A9E5B020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A63E80C-7EBA-C6C7-CE79-BAC33659681D}"/>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Inventory Protocol</a:t>
            </a:r>
          </a:p>
          <a:p>
            <a:r>
              <a:rPr lang="en-US" sz="1600" b="1" dirty="0"/>
              <a:t>1. Setup Tags for Demo </a:t>
            </a:r>
          </a:p>
          <a:p>
            <a:pPr marL="515886" lvl="1" indent="-342900">
              <a:spcBef>
                <a:spcPts val="600"/>
              </a:spcBef>
            </a:pPr>
            <a:r>
              <a:rPr lang="en-US" sz="1600" dirty="0"/>
              <a:t>Arrange both Gen2 and Gen2X-enabled tags in the test area </a:t>
            </a:r>
          </a:p>
          <a:p>
            <a:r>
              <a:rPr lang="en-US" sz="1600" b="1" dirty="0"/>
              <a:t>2. Inventory Protocol selection</a:t>
            </a:r>
          </a:p>
          <a:p>
            <a:r>
              <a:rPr lang="en-US" sz="1400" dirty="0"/>
              <a:t>Configure using Singulation and/or Prefilters to match your current application (or leave as default)</a:t>
            </a:r>
          </a:p>
          <a:p>
            <a:pPr marL="458736" lvl="1" indent="-285750">
              <a:spcBef>
                <a:spcPts val="600"/>
              </a:spcBef>
            </a:pPr>
            <a:r>
              <a:rPr lang="en-US" sz="1400" dirty="0"/>
              <a:t>Select the protocol</a:t>
            </a:r>
          </a:p>
          <a:p>
            <a:pPr marL="458736" lvl="1" indent="-285750">
              <a:spcBef>
                <a:spcPts val="600"/>
              </a:spcBef>
            </a:pPr>
            <a:r>
              <a:rPr lang="en-US" sz="1400" dirty="0"/>
              <a:t>Click the save button </a:t>
            </a:r>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F4989C5C-02CD-40F7-98A0-AEFAF83E91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95592" y="926612"/>
            <a:ext cx="2036220" cy="407244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A721FA9F-9655-205B-F1CB-BA7DC96DB0D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53458" y="1853752"/>
            <a:ext cx="2038818" cy="4077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2924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7F3C9-A59B-F9CF-5BF2-197313B93CA8}"/>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03B9D7-51FD-AF4D-A263-C8A135F2A2C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5ABCE49-46E0-B296-AB97-2D5A43095D2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1C8CCB91-0EA1-ABB1-C936-45F075BDAD8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55BBF79-A321-B6FD-0A42-F339301CC41F}"/>
              </a:ext>
            </a:extLst>
          </p:cNvPr>
          <p:cNvSpPr txBox="1">
            <a:spLocks/>
          </p:cNvSpPr>
          <p:nvPr/>
        </p:nvSpPr>
        <p:spPr>
          <a:xfrm>
            <a:off x="448508" y="1584960"/>
            <a:ext cx="6861548"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Inventory protocol</a:t>
            </a:r>
          </a:p>
          <a:p>
            <a:r>
              <a:rPr lang="en-US" sz="1600" b="1" dirty="0"/>
              <a:t>3. Inventory with selected inventory protocol</a:t>
            </a:r>
            <a:endParaRPr lang="en-US" sz="1600" b="1" i="1" u="sng" dirty="0"/>
          </a:p>
          <a:p>
            <a:pPr marL="458736" lvl="1" indent="-285750">
              <a:spcBef>
                <a:spcPts val="600"/>
              </a:spcBef>
            </a:pPr>
            <a:r>
              <a:rPr lang="en-US" sz="1400" dirty="0"/>
              <a:t>Clear the results using the Clear button</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endParaRPr lang="en-US" sz="1800" dirty="0"/>
          </a:p>
          <a:p>
            <a:pPr marL="458736" lvl="1" indent="-285750"/>
            <a:r>
              <a:rPr lang="en-US" sz="1400" dirty="0"/>
              <a:t>Click           and  Observe the read rate (total reads / total time) by performing inventory using three different inventory protocol modes.</a:t>
            </a:r>
          </a:p>
          <a:p>
            <a:pPr marL="458736" lvl="1" indent="-285750"/>
            <a:r>
              <a:rPr lang="en-US" sz="1400" dirty="0" err="1"/>
              <a:t>TagFocus</a:t>
            </a:r>
            <a:r>
              <a:rPr lang="en-US" sz="1400" dirty="0"/>
              <a:t> and Quiet can also be performed using three inventory protocol modes.</a:t>
            </a:r>
          </a:p>
          <a:p>
            <a:endParaRPr lang="en-US" sz="1400" dirty="0"/>
          </a:p>
        </p:txBody>
      </p:sp>
      <p:pic>
        <p:nvPicPr>
          <p:cNvPr id="8" name="Picture 7">
            <a:extLst>
              <a:ext uri="{FF2B5EF4-FFF2-40B4-BE49-F238E27FC236}">
                <a16:creationId xmlns:a16="http://schemas.microsoft.com/office/drawing/2014/main" id="{7B7FD5A9-FEF4-2BDF-10E3-1286B9439B3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30160" y="741686"/>
            <a:ext cx="2543920" cy="508784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BBFE161-BCE8-32A0-998D-C00E15CDA0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015822" y="1483432"/>
            <a:ext cx="2400342" cy="4800684"/>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A5BE96F2-5CC0-3433-3ECA-7C17D0D4D56B}"/>
              </a:ext>
            </a:extLst>
          </p:cNvPr>
          <p:cNvPicPr>
            <a:picLocks noChangeAspect="1"/>
          </p:cNvPicPr>
          <p:nvPr/>
        </p:nvPicPr>
        <p:blipFill>
          <a:blip r:embed="rId5"/>
          <a:stretch>
            <a:fillRect/>
          </a:stretch>
        </p:blipFill>
        <p:spPr>
          <a:xfrm>
            <a:off x="1427730" y="4145889"/>
            <a:ext cx="274344" cy="266723"/>
          </a:xfrm>
          <a:prstGeom prst="rect">
            <a:avLst/>
          </a:prstGeom>
        </p:spPr>
      </p:pic>
    </p:spTree>
    <p:extLst>
      <p:ext uri="{BB962C8B-B14F-4D97-AF65-F5344CB8AC3E}">
        <p14:creationId xmlns:p14="http://schemas.microsoft.com/office/powerpoint/2010/main" val="127941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221FD-56D4-0C39-55BC-D3B1B9C5231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153CF15-B387-ACFC-D247-F765003BB14E}"/>
              </a:ext>
            </a:extLst>
          </p:cNvPr>
          <p:cNvSpPr>
            <a:spLocks noGrp="1"/>
          </p:cNvSpPr>
          <p:nvPr>
            <p:ph type="sldNum" sz="quarter" idx="12"/>
          </p:nvPr>
        </p:nvSpPr>
        <p:spPr>
          <a:xfrm>
            <a:off x="470243" y="6353722"/>
            <a:ext cx="457081" cy="182832"/>
          </a:xfrm>
        </p:spPr>
        <p:txBody>
          <a:bodyPr/>
          <a:lstStyle/>
          <a:p>
            <a:pPr defTabSz="914126"/>
            <a:fld id="{1AD59F8F-821C-794D-AFBA-1518A32149B9}" type="slidenum">
              <a:rPr lang="en-US">
                <a:solidFill>
                  <a:srgbClr val="000000"/>
                </a:solidFill>
                <a:ea typeface="ＭＳ Ｐゴシック" charset="0"/>
              </a:rPr>
              <a:pPr defTabSz="914126"/>
              <a:t>4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694A3C59-8FDE-AA39-46BE-51A2490AB87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67ACF76-AB5B-8C1D-92AD-B9858C8A44D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640E0F-CC71-B058-9660-A19E33DA9A26}"/>
              </a:ext>
            </a:extLst>
          </p:cNvPr>
          <p:cNvSpPr txBox="1">
            <a:spLocks/>
          </p:cNvSpPr>
          <p:nvPr/>
        </p:nvSpPr>
        <p:spPr>
          <a:xfrm>
            <a:off x="457198" y="1828800"/>
            <a:ext cx="11104325"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dirty="0">
                <a:solidFill>
                  <a:srgbClr val="1F69FF"/>
                </a:solidFill>
              </a:rPr>
              <a:t>Zebra’s “NewGen2XPlay” Sample Application demonstrates key Gen2X features, providing users with powerful tools to optimize RFID performance.</a:t>
            </a:r>
          </a:p>
          <a:p>
            <a:pPr marL="342900" indent="-342900">
              <a:buFont typeface="Arial" panose="020B0604020202020204" pitchFamily="34" charset="0"/>
              <a:buChar char="•"/>
            </a:pPr>
            <a:r>
              <a:rPr lang="en-US" sz="2000" dirty="0"/>
              <a:t>This sample application enables users to test and compare Gen2X features to standard RFID operations, helping optimize workflows and maximize efficiency.</a:t>
            </a:r>
          </a:p>
          <a:p>
            <a:pPr marL="342900" indent="-342900">
              <a:buFont typeface="Arial" panose="020B0604020202020204" pitchFamily="34" charset="0"/>
              <a:buChar char="•"/>
            </a:pPr>
            <a:r>
              <a:rPr lang="en-US" sz="2000" dirty="0"/>
              <a:t>Features like </a:t>
            </a:r>
            <a:r>
              <a:rPr lang="en-US" sz="2000" b="1" dirty="0"/>
              <a:t>Tag Quieting </a:t>
            </a:r>
            <a:r>
              <a:rPr lang="en-US" sz="2000" dirty="0"/>
              <a:t>and </a:t>
            </a:r>
            <a:r>
              <a:rPr lang="en-US" sz="2000" b="1" dirty="0" err="1"/>
              <a:t>TagFocus</a:t>
            </a:r>
            <a:r>
              <a:rPr lang="en-US" sz="2000" dirty="0"/>
              <a:t> are particularly valuable for managing large tag populations in high-density environments.</a:t>
            </a:r>
          </a:p>
          <a:p>
            <a:pPr marL="342900" indent="-342900">
              <a:buFont typeface="Arial" panose="020B0604020202020204" pitchFamily="34" charset="0"/>
              <a:buChar char="•"/>
            </a:pPr>
            <a:r>
              <a:rPr lang="en-US" sz="2000" b="1" dirty="0"/>
              <a:t>Protected Mode</a:t>
            </a:r>
            <a:r>
              <a:rPr lang="en-US" sz="2000" dirty="0"/>
              <a:t> ensures data security and controlled tag visibility, making it ideal for sensitive use cases.</a:t>
            </a:r>
          </a:p>
          <a:p>
            <a:endParaRPr lang="en-US" sz="1800" dirty="0"/>
          </a:p>
        </p:txBody>
      </p:sp>
    </p:spTree>
    <p:extLst>
      <p:ext uri="{BB962C8B-B14F-4D97-AF65-F5344CB8AC3E}">
        <p14:creationId xmlns:p14="http://schemas.microsoft.com/office/powerpoint/2010/main" val="66762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E152C-B25A-E5C7-E542-82874F7A446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7CBEF3D-4B4F-2F05-5326-82117A65B1F8}"/>
              </a:ext>
            </a:extLst>
          </p:cNvPr>
          <p:cNvSpPr>
            <a:spLocks noGrp="1"/>
          </p:cNvSpPr>
          <p:nvPr>
            <p:ph type="ctrTitle"/>
          </p:nvPr>
        </p:nvSpPr>
        <p:spPr/>
        <p:txBody>
          <a:bodyPr/>
          <a:lstStyle/>
          <a:p>
            <a:r>
              <a:rPr lang="en-US" dirty="0"/>
              <a:t>Thank You!</a:t>
            </a:r>
          </a:p>
        </p:txBody>
      </p:sp>
      <p:sp>
        <p:nvSpPr>
          <p:cNvPr id="33" name="Text Placeholder 32">
            <a:extLst>
              <a:ext uri="{FF2B5EF4-FFF2-40B4-BE49-F238E27FC236}">
                <a16:creationId xmlns:a16="http://schemas.microsoft.com/office/drawing/2014/main" id="{089505D8-1EEA-876E-FCF2-2D1767CB4487}"/>
              </a:ext>
            </a:extLst>
          </p:cNvPr>
          <p:cNvSpPr>
            <a:spLocks noGrp="1"/>
          </p:cNvSpPr>
          <p:nvPr>
            <p:ph type="subTitle" idx="4294967295"/>
          </p:nvPr>
        </p:nvSpPr>
        <p:spPr>
          <a:xfrm>
            <a:off x="1589" y="4895468"/>
            <a:ext cx="6399133" cy="365030"/>
          </a:xfrm>
        </p:spPr>
        <p:txBody>
          <a:bodyPr/>
          <a:lstStyle/>
          <a:p>
            <a:r>
              <a:rPr lang="en-US" dirty="0"/>
              <a:t> </a:t>
            </a:r>
          </a:p>
        </p:txBody>
      </p:sp>
      <p:sp>
        <p:nvSpPr>
          <p:cNvPr id="32" name="Text Placeholder 31">
            <a:extLst>
              <a:ext uri="{FF2B5EF4-FFF2-40B4-BE49-F238E27FC236}">
                <a16:creationId xmlns:a16="http://schemas.microsoft.com/office/drawing/2014/main" id="{A4C2491C-963E-D01C-E215-91EA3974A3E5}"/>
              </a:ext>
            </a:extLst>
          </p:cNvPr>
          <p:cNvSpPr>
            <a:spLocks noGrp="1"/>
          </p:cNvSpPr>
          <p:nvPr>
            <p:ph type="body" sz="quarter" idx="4294967295"/>
          </p:nvPr>
        </p:nvSpPr>
        <p:spPr>
          <a:xfrm>
            <a:off x="9149555" y="465911"/>
            <a:ext cx="3040858" cy="4202605"/>
          </a:xfrm>
        </p:spPr>
        <p:txBody>
          <a:bodyPr/>
          <a:lstStyle/>
          <a:p>
            <a:r>
              <a:rPr lang="en-US" dirty="0"/>
              <a:t> </a:t>
            </a:r>
          </a:p>
        </p:txBody>
      </p:sp>
      <p:sp>
        <p:nvSpPr>
          <p:cNvPr id="6" name="Text Placeholder 5">
            <a:extLst>
              <a:ext uri="{FF2B5EF4-FFF2-40B4-BE49-F238E27FC236}">
                <a16:creationId xmlns:a16="http://schemas.microsoft.com/office/drawing/2014/main" id="{13327FEB-ECA3-6B04-1CEE-D1735601B027}"/>
              </a:ext>
            </a:extLst>
          </p:cNvPr>
          <p:cNvSpPr>
            <a:spLocks noGrp="1"/>
          </p:cNvSpPr>
          <p:nvPr>
            <p:ph type="body" sz="quarter" idx="4294967295"/>
          </p:nvPr>
        </p:nvSpPr>
        <p:spPr>
          <a:xfrm>
            <a:off x="10554127" y="5379530"/>
            <a:ext cx="1636286" cy="512628"/>
          </a:xfrm>
        </p:spPr>
        <p:txBody>
          <a:bodyPr/>
          <a:lstStyle/>
          <a:p>
            <a:r>
              <a:rPr lang="en-US" dirty="0"/>
              <a:t> </a:t>
            </a:r>
          </a:p>
        </p:txBody>
      </p:sp>
    </p:spTree>
    <p:extLst>
      <p:ext uri="{BB962C8B-B14F-4D97-AF65-F5344CB8AC3E}">
        <p14:creationId xmlns:p14="http://schemas.microsoft.com/office/powerpoint/2010/main" val="45485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3CED8-1DA0-D5F5-29D6-E9428F1F5009}"/>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5F054BF2-4C1F-1FA4-FAB3-D412A2E939A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2A023B18-8E43-A7DD-8630-A7273A598631}"/>
              </a:ext>
            </a:extLst>
          </p:cNvPr>
          <p:cNvSpPr>
            <a:spLocks noGrp="1"/>
          </p:cNvSpPr>
          <p:nvPr>
            <p:ph type="ctrTitle"/>
          </p:nvPr>
        </p:nvSpPr>
        <p:spPr>
          <a:xfrm>
            <a:off x="457198" y="3130630"/>
            <a:ext cx="10861042" cy="1749135"/>
          </a:xfrm>
        </p:spPr>
        <p:txBody>
          <a:bodyPr/>
          <a:lstStyle/>
          <a:p>
            <a:r>
              <a:rPr lang="en-US" dirty="0">
                <a:solidFill>
                  <a:srgbClr val="1F69FF"/>
                </a:solidFill>
              </a:rPr>
              <a:t>NewGen2xPlay Sample App –  Getting Started</a:t>
            </a:r>
            <a:endParaRPr lang="sv-SE" b="1" dirty="0">
              <a:solidFill>
                <a:srgbClr val="1F69FF"/>
              </a:solidFill>
            </a:endParaRPr>
          </a:p>
        </p:txBody>
      </p:sp>
    </p:spTree>
    <p:extLst>
      <p:ext uri="{BB962C8B-B14F-4D97-AF65-F5344CB8AC3E}">
        <p14:creationId xmlns:p14="http://schemas.microsoft.com/office/powerpoint/2010/main" val="267467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9B2B7-10A9-FE72-1DBC-DFB0CC049A9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8A8D572-E048-AD76-00AC-AED1EFA0336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D5E54A47-5319-3CA7-9AC5-DAD5E827A6D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46F637C-D136-7E00-AC99-3BE87C54C702}"/>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BA8F541F-56B1-E573-879A-F1591C59AE62}"/>
              </a:ext>
            </a:extLst>
          </p:cNvPr>
          <p:cNvSpPr>
            <a:spLocks noGrp="1"/>
          </p:cNvSpPr>
          <p:nvPr>
            <p:ph type="body" sz="quarter" idx="13"/>
          </p:nvPr>
        </p:nvSpPr>
        <p:spPr>
          <a:xfrm>
            <a:off x="844630" y="2158550"/>
            <a:ext cx="9870476" cy="3886200"/>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1400" i="0" u="none" strike="noStrike" kern="1200" cap="none" spc="0" normalizeH="0" baseline="0" noProof="0" dirty="0">
                <a:ln>
                  <a:noFill/>
                </a:ln>
                <a:effectLst/>
                <a:uLnTx/>
                <a:uFillTx/>
                <a:latin typeface="Zebra Sans" pitchFamily="50" charset="0"/>
              </a:rPr>
              <a:t>The NewGen2xPlay sample application is provided solely for demonstration purposes to showcase the features of Impinj Gen2X extensions. The application, source code and accompanying guide are designed to help users explore these features and understand their configuration and functionality.</a:t>
            </a: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400" b="1" i="0" u="none" strike="noStrike" kern="1200" cap="none" spc="0" normalizeH="0" baseline="0" noProof="0" dirty="0">
                <a:ln>
                  <a:noFill/>
                </a:ln>
                <a:solidFill>
                  <a:srgbClr val="1F69FF"/>
                </a:solidFill>
                <a:effectLst/>
                <a:uLnTx/>
                <a:uFillTx/>
                <a:latin typeface="Zebra Sans" pitchFamily="50" charset="0"/>
              </a:rPr>
              <a:t>Please note the following:</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Demo Purpose</a:t>
            </a:r>
            <a:r>
              <a:rPr kumimoji="0" lang="en-US" sz="1200" b="1"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is sample application is intended as a proof-of-concept tool and should not be used in production environments or as a fully developed solution.</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Source Code Usage</a:t>
            </a:r>
            <a:r>
              <a:rPr kumimoji="0" lang="en-US" sz="1400"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e shared source code is provided as a starting point to accelerate the integration of Gen2X features into your existing applications or solutions. It is the user's responsibility to evaluate, customize, and test the code for their specific use cases.</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Prerequisites</a:t>
            </a:r>
            <a:r>
              <a:rPr kumimoji="0" lang="en-US" sz="1200" i="0" u="none" strike="noStrike" kern="1200" cap="none" spc="0" normalizeH="0" baseline="0" noProof="0" dirty="0">
                <a:ln>
                  <a:noFill/>
                </a:ln>
                <a:effectLst/>
                <a:uLnTx/>
                <a:uFillTx/>
                <a:latin typeface="Zebra Sans" pitchFamily="50" charset="0"/>
              </a:rPr>
              <a:t>: Ensure you have the required hardware, compatible software, and Gen2X-enabled RFID tags as outlined in the guide before using the sample application.</a:t>
            </a:r>
          </a:p>
          <a:p>
            <a:pPr lvl="0">
              <a:spcBef>
                <a:spcPts val="0"/>
              </a:spcBef>
              <a:spcAft>
                <a:spcPts val="1200"/>
              </a:spcAft>
              <a:buClr>
                <a:srgbClr val="0073E6"/>
              </a:buClr>
              <a:defRPr/>
            </a:pPr>
            <a:r>
              <a:rPr kumimoji="0" lang="en-US" sz="1400" i="0" u="none" strike="noStrike" kern="1200" cap="none" spc="0" normalizeH="0" baseline="0" noProof="0" dirty="0">
                <a:ln>
                  <a:noFill/>
                </a:ln>
                <a:effectLst/>
                <a:uLnTx/>
                <a:uFillTx/>
                <a:latin typeface="Zebra Sans" pitchFamily="50" charset="0"/>
              </a:rPr>
              <a:t>By using the NewGen2xPlay sample application, you acknowledge and agree to these terms and understand that it is a demonstration tool, not a production-ready application.  </a:t>
            </a:r>
          </a:p>
          <a:p>
            <a:pPr lvl="0">
              <a:spcBef>
                <a:spcPts val="0"/>
              </a:spcBef>
              <a:spcAft>
                <a:spcPts val="1200"/>
              </a:spcAft>
              <a:buClr>
                <a:srgbClr val="0073E6"/>
              </a:buClr>
              <a:defRPr/>
            </a:pPr>
            <a:br>
              <a:rPr kumimoji="0" lang="en-US" sz="1400" i="0" u="none" strike="noStrike" kern="1200" cap="none" spc="0" normalizeH="0" baseline="0" noProof="0" dirty="0">
                <a:ln>
                  <a:noFill/>
                </a:ln>
                <a:effectLst/>
                <a:uLnTx/>
                <a:uFillTx/>
                <a:latin typeface="Zebra Sans" pitchFamily="50" charset="0"/>
              </a:rPr>
            </a:br>
            <a:r>
              <a:rPr lang="en-US" sz="1800" b="1" u="sng" dirty="0">
                <a:hlinkClick r:id="rId3" tooltip="End User License Agreement (Unrestricted Software)"/>
              </a:rPr>
              <a:t>End User License Agreement (Unrestricted Software)</a:t>
            </a:r>
            <a:endParaRPr lang="en-US" sz="1800" b="1" dirty="0">
              <a:latin typeface="Zebra Sans" pitchFamily="50" charset="0"/>
            </a:endParaRPr>
          </a:p>
        </p:txBody>
      </p:sp>
      <p:sp>
        <p:nvSpPr>
          <p:cNvPr id="7" name="TextBox 6">
            <a:extLst>
              <a:ext uri="{FF2B5EF4-FFF2-40B4-BE49-F238E27FC236}">
                <a16:creationId xmlns:a16="http://schemas.microsoft.com/office/drawing/2014/main" id="{B83E943C-53BA-FCF9-B6A5-0BA318DFE43F}"/>
              </a:ext>
            </a:extLst>
          </p:cNvPr>
          <p:cNvSpPr txBox="1"/>
          <p:nvPr/>
        </p:nvSpPr>
        <p:spPr>
          <a:xfrm>
            <a:off x="375920" y="1601730"/>
            <a:ext cx="8442960" cy="400110"/>
          </a:xfrm>
          <a:prstGeom prst="rect">
            <a:avLst/>
          </a:prstGeom>
          <a:noFill/>
        </p:spPr>
        <p:txBody>
          <a:bodyPr wrap="square">
            <a:spAutoFit/>
          </a:bodyPr>
          <a:lstStyle/>
          <a:p>
            <a:r>
              <a:rPr lang="en-US" sz="2000" b="1" dirty="0">
                <a:solidFill>
                  <a:srgbClr val="242424"/>
                </a:solidFill>
                <a:latin typeface="Zebra Sans" pitchFamily="50" charset="0"/>
              </a:rPr>
              <a:t>What You Need to Know About This Sample App</a:t>
            </a:r>
          </a:p>
        </p:txBody>
      </p:sp>
    </p:spTree>
    <p:extLst>
      <p:ext uri="{BB962C8B-B14F-4D97-AF65-F5344CB8AC3E}">
        <p14:creationId xmlns:p14="http://schemas.microsoft.com/office/powerpoint/2010/main" val="351866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1F1C2-F37D-E5BA-B48C-D98328CE856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BEBE53E-5330-70A9-38F0-AAB3EFF96B2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971616-2A77-26A3-EEBA-8BD8117AEF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5D8B7DB-D492-49F2-1756-BE4139B80B1C}"/>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5DF3547-DF10-C129-EFC2-2E0317CAF458}"/>
              </a:ext>
            </a:extLst>
          </p:cNvPr>
          <p:cNvSpPr txBox="1">
            <a:spLocks/>
          </p:cNvSpPr>
          <p:nvPr/>
        </p:nvSpPr>
        <p:spPr>
          <a:xfrm>
            <a:off x="448508" y="1584960"/>
            <a:ext cx="7374692" cy="4951594"/>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400" dirty="0">
                <a:solidFill>
                  <a:srgbClr val="1F69FF"/>
                </a:solidFill>
              </a:rPr>
              <a:t>The NewGen2xPlay sample application demonstrates Impinj Gen2X features including Protected Mode, </a:t>
            </a:r>
            <a:r>
              <a:rPr lang="en-US" sz="1400" dirty="0" err="1">
                <a:solidFill>
                  <a:srgbClr val="1F69FF"/>
                </a:solidFill>
              </a:rPr>
              <a:t>TagFocus</a:t>
            </a:r>
            <a:r>
              <a:rPr lang="en-US" sz="1400" dirty="0">
                <a:solidFill>
                  <a:srgbClr val="1F69FF"/>
                </a:solidFill>
              </a:rPr>
              <a:t>, and Tag Quieting.</a:t>
            </a:r>
          </a:p>
          <a:p>
            <a:r>
              <a:rPr lang="en-US" sz="1600" b="1" dirty="0"/>
              <a:t>This guide includes:</a:t>
            </a:r>
          </a:p>
          <a:p>
            <a:pPr marL="458736" lvl="1" indent="-285750">
              <a:spcBef>
                <a:spcPts val="600"/>
              </a:spcBef>
            </a:pPr>
            <a:r>
              <a:rPr lang="en-US" sz="1400" dirty="0"/>
              <a:t>Navigation Overview</a:t>
            </a:r>
          </a:p>
          <a:p>
            <a:pPr marL="458736" lvl="1" indent="-285750">
              <a:spcBef>
                <a:spcPts val="600"/>
              </a:spcBef>
            </a:pPr>
            <a:r>
              <a:rPr lang="en-US" sz="1400" dirty="0"/>
              <a:t>General Configuration– (Connect, Inventory, Singulation, Prefilter)</a:t>
            </a:r>
          </a:p>
          <a:p>
            <a:pPr marL="458736" lvl="1" indent="-285750">
              <a:spcBef>
                <a:spcPts val="600"/>
              </a:spcBef>
            </a:pPr>
            <a:r>
              <a:rPr lang="en-US" sz="1400" dirty="0"/>
              <a:t>Gen2X Feature Demo: Tag Focus</a:t>
            </a:r>
          </a:p>
          <a:p>
            <a:pPr marL="458736" lvl="1" indent="-285750">
              <a:spcBef>
                <a:spcPts val="600"/>
              </a:spcBef>
            </a:pPr>
            <a:r>
              <a:rPr lang="en-US" sz="1400" dirty="0"/>
              <a:t>Gen2X Feature Demo: Tag Quieting</a:t>
            </a:r>
          </a:p>
          <a:p>
            <a:pPr marL="458736" lvl="1" indent="-285750">
              <a:spcBef>
                <a:spcPts val="600"/>
              </a:spcBef>
            </a:pPr>
            <a:r>
              <a:rPr lang="en-US" sz="1400" dirty="0"/>
              <a:t>Gen2X Feature Demo:  Protected Mode</a:t>
            </a:r>
          </a:p>
          <a:p>
            <a:pPr marL="458736" lvl="1" indent="-285750">
              <a:spcBef>
                <a:spcPts val="600"/>
              </a:spcBef>
            </a:pPr>
            <a:r>
              <a:rPr lang="en-US" sz="1400" dirty="0"/>
              <a:t>Gen2X Feature Demo:  Fast ID</a:t>
            </a:r>
          </a:p>
          <a:p>
            <a:pPr marL="458736" lvl="1" indent="-285750">
              <a:spcBef>
                <a:spcPts val="600"/>
              </a:spcBef>
            </a:pPr>
            <a:r>
              <a:rPr lang="en-US" sz="1400" dirty="0"/>
              <a:t>Gen2X enhanced inventory performance</a:t>
            </a:r>
          </a:p>
          <a:p>
            <a:pPr marL="396875" lvl="1" indent="60325">
              <a:buNone/>
            </a:pPr>
            <a:r>
              <a:rPr lang="en-US" sz="1200" i="1" dirty="0"/>
              <a:t>Each feature section includes step-by-step configuration and instructions to demonstrate the  </a:t>
            </a:r>
            <a:br>
              <a:rPr lang="en-US" sz="1200" i="1" dirty="0"/>
            </a:br>
            <a:r>
              <a:rPr lang="en-US" sz="1200" i="1" dirty="0"/>
              <a:t> feature using the feature-specific screens.</a:t>
            </a:r>
          </a:p>
          <a:p>
            <a:r>
              <a:rPr lang="en-US" sz="1600" b="1" dirty="0"/>
              <a:t>What do I need to use the sample application?</a:t>
            </a:r>
          </a:p>
          <a:p>
            <a:pPr marL="342900" indent="-342900">
              <a:spcBef>
                <a:spcPts val="1200"/>
              </a:spcBef>
              <a:buFont typeface="Arial" panose="020B0604020202020204" pitchFamily="34" charset="0"/>
              <a:buChar char="•"/>
            </a:pPr>
            <a:r>
              <a:rPr lang="en-US" sz="1400" dirty="0"/>
              <a:t>Mobile Computer w/ Android 10 and later +  Zebra RFID Reader (RFD40 or RFD90)</a:t>
            </a:r>
            <a:br>
              <a:rPr lang="en-US" sz="1400" dirty="0"/>
            </a:br>
            <a:r>
              <a:rPr lang="en-US" sz="1400" i="1" dirty="0"/>
              <a:t>-OR-</a:t>
            </a:r>
            <a:br>
              <a:rPr lang="en-US" sz="1400" i="1" dirty="0"/>
            </a:br>
            <a:r>
              <a:rPr lang="en-US" sz="1400" dirty="0"/>
              <a:t>Zebra RFID-Enabled Mobile Computer (EM45, TC53e-RFID)</a:t>
            </a:r>
          </a:p>
          <a:p>
            <a:pPr marL="342900" indent="-342900">
              <a:spcBef>
                <a:spcPts val="600"/>
              </a:spcBef>
              <a:buFont typeface="Arial" panose="020B0604020202020204" pitchFamily="34" charset="0"/>
              <a:buChar char="•"/>
            </a:pPr>
            <a:r>
              <a:rPr lang="en-US" sz="1400" dirty="0"/>
              <a:t>NewGen2xPlay sample application (download from </a:t>
            </a:r>
            <a:r>
              <a:rPr lang="en-US" sz="1400" dirty="0" err="1"/>
              <a:t>TechDocs</a:t>
            </a:r>
            <a:r>
              <a:rPr lang="en-US" sz="1400" dirty="0"/>
              <a:t>)</a:t>
            </a:r>
          </a:p>
          <a:p>
            <a:pPr marL="342900" indent="-342900">
              <a:spcBef>
                <a:spcPts val="600"/>
              </a:spcBef>
              <a:buFont typeface="Arial" panose="020B0604020202020204" pitchFamily="34" charset="0"/>
              <a:buChar char="•"/>
            </a:pPr>
            <a:r>
              <a:rPr lang="en-US" sz="1400" dirty="0"/>
              <a:t>Gen2X-enabled RFID tags (</a:t>
            </a:r>
            <a:r>
              <a:rPr lang="en-US" sz="1400" dirty="0">
                <a:hlinkClick r:id="rId3"/>
              </a:rPr>
              <a:t>http://www.impinj.com/Gen2X</a:t>
            </a:r>
            <a:r>
              <a:rPr lang="en-US" sz="1400" dirty="0"/>
              <a:t>)</a:t>
            </a:r>
          </a:p>
          <a:p>
            <a:pPr marL="342900" indent="-342900">
              <a:spcBef>
                <a:spcPts val="600"/>
              </a:spcBef>
              <a:buFont typeface="Arial" panose="020B0604020202020204" pitchFamily="34" charset="0"/>
              <a:buChar char="•"/>
            </a:pPr>
            <a:endParaRPr lang="en-US" sz="1400" dirty="0"/>
          </a:p>
          <a:p>
            <a:pPr marL="0" lvl="1" indent="0">
              <a:buNone/>
            </a:pPr>
            <a:r>
              <a:rPr lang="en-US" dirty="0"/>
              <a:t> </a:t>
            </a:r>
          </a:p>
          <a:p>
            <a:pPr lvl="1" indent="0">
              <a:buNone/>
            </a:pPr>
            <a:endParaRPr lang="en-US" sz="1200" dirty="0"/>
          </a:p>
        </p:txBody>
      </p:sp>
      <p:pic>
        <p:nvPicPr>
          <p:cNvPr id="11" name="Picture 10">
            <a:extLst>
              <a:ext uri="{FF2B5EF4-FFF2-40B4-BE49-F238E27FC236}">
                <a16:creationId xmlns:a16="http://schemas.microsoft.com/office/drawing/2014/main" id="{76FF8D1C-01F2-592F-73DB-452C33E50C6C}"/>
              </a:ext>
            </a:extLst>
          </p:cNvPr>
          <p:cNvPicPr>
            <a:picLocks noChangeAspect="1"/>
          </p:cNvPicPr>
          <p:nvPr/>
        </p:nvPicPr>
        <p:blipFill>
          <a:blip r:embed="rId4">
            <a:extLst>
              <a:ext uri="{28A0092B-C50C-407E-A947-70E740481C1C}">
                <a14:useLocalDpi xmlns:a14="http://schemas.microsoft.com/office/drawing/2010/main" val="0"/>
              </a:ext>
            </a:extLst>
          </a:blip>
          <a:srcRect l="217" r="217"/>
          <a:stretch/>
        </p:blipFill>
        <p:spPr>
          <a:xfrm>
            <a:off x="8338578" y="1318761"/>
            <a:ext cx="2288782" cy="4597522"/>
          </a:xfrm>
          <a:prstGeom prst="rect">
            <a:avLst/>
          </a:prstGeom>
        </p:spPr>
      </p:pic>
    </p:spTree>
    <p:extLst>
      <p:ext uri="{BB962C8B-B14F-4D97-AF65-F5344CB8AC3E}">
        <p14:creationId xmlns:p14="http://schemas.microsoft.com/office/powerpoint/2010/main" val="30581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4708F-FE9C-6D85-2E4F-4C8C2AF1C3A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0460E66-B054-4EDF-EE8C-2B32E11E561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439EB72C-9D10-D596-449C-022CE0F255F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D096C8A-31BD-D472-9285-1242A76660C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32FFEDD-30E8-8446-4786-8B84139BA6CB}"/>
              </a:ext>
            </a:extLst>
          </p:cNvPr>
          <p:cNvSpPr txBox="1">
            <a:spLocks/>
          </p:cNvSpPr>
          <p:nvPr/>
        </p:nvSpPr>
        <p:spPr>
          <a:xfrm>
            <a:off x="458668" y="1805868"/>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r>
              <a:rPr lang="en-US" sz="2000" b="1" dirty="0">
                <a:solidFill>
                  <a:srgbClr val="1F69FF"/>
                </a:solidFill>
              </a:rPr>
              <a:t>Navigation</a:t>
            </a:r>
            <a:endParaRPr lang="en-US" sz="2000" dirty="0">
              <a:solidFill>
                <a:srgbClr val="1F69FF"/>
              </a:solidFill>
            </a:endParaRPr>
          </a:p>
          <a:p>
            <a:pPr>
              <a:spcBef>
                <a:spcPts val="1800"/>
              </a:spcBef>
            </a:pPr>
            <a:r>
              <a:rPr lang="en-US" sz="1400" dirty="0"/>
              <a:t>The navigation drawer shows the operations that can be performed using the sample app including:</a:t>
            </a:r>
          </a:p>
          <a:p>
            <a:pPr lvl="1"/>
            <a:r>
              <a:rPr lang="en-US" sz="1400" b="1" dirty="0"/>
              <a:t>Connect</a:t>
            </a:r>
            <a:r>
              <a:rPr lang="en-US" sz="1400" dirty="0"/>
              <a:t>:  Connect to an RFID Reader</a:t>
            </a:r>
          </a:p>
          <a:p>
            <a:pPr lvl="1"/>
            <a:r>
              <a:rPr lang="en-US" sz="1400" b="1" dirty="0"/>
              <a:t>Inventory</a:t>
            </a:r>
            <a:r>
              <a:rPr lang="en-US" sz="1400" dirty="0"/>
              <a:t> : Read Tags and apply Gen2X features</a:t>
            </a:r>
          </a:p>
          <a:p>
            <a:pPr lvl="1"/>
            <a:r>
              <a:rPr lang="en-US" sz="1400" b="1" dirty="0"/>
              <a:t>Singulation</a:t>
            </a:r>
            <a:r>
              <a:rPr lang="en-US" sz="1400" dirty="0"/>
              <a:t>: Manage Singulation Settings </a:t>
            </a:r>
          </a:p>
          <a:p>
            <a:pPr lvl="1"/>
            <a:r>
              <a:rPr lang="en-US" sz="1400" b="1" dirty="0"/>
              <a:t>Prefilter</a:t>
            </a:r>
            <a:r>
              <a:rPr lang="en-US" sz="1400" dirty="0"/>
              <a:t>: Manage Prefilters </a:t>
            </a:r>
          </a:p>
          <a:p>
            <a:pPr lvl="1"/>
            <a:r>
              <a:rPr lang="en-US" sz="1400" b="1" dirty="0"/>
              <a:t>Custom Tag Quieting</a:t>
            </a:r>
            <a:r>
              <a:rPr lang="en-US" sz="1400" dirty="0"/>
              <a:t>: Manager filters for Tag Quieting</a:t>
            </a:r>
          </a:p>
          <a:p>
            <a:pPr lvl="1"/>
            <a:r>
              <a:rPr lang="en-US" sz="1400" b="1" dirty="0"/>
              <a:t>Protected Mode:</a:t>
            </a:r>
            <a:r>
              <a:rPr lang="en-US" sz="1400" dirty="0"/>
              <a:t> Enable/Disable Protected Mode </a:t>
            </a:r>
          </a:p>
          <a:p>
            <a:endParaRPr lang="en-US" sz="1400" dirty="0"/>
          </a:p>
        </p:txBody>
      </p:sp>
      <p:pic>
        <p:nvPicPr>
          <p:cNvPr id="8" name="Picture 7">
            <a:extLst>
              <a:ext uri="{FF2B5EF4-FFF2-40B4-BE49-F238E27FC236}">
                <a16:creationId xmlns:a16="http://schemas.microsoft.com/office/drawing/2014/main" id="{127517B4-D627-264A-2A56-8D3EFD9CDA39}"/>
              </a:ext>
            </a:extLst>
          </p:cNvPr>
          <p:cNvPicPr>
            <a:picLocks noChangeAspect="1"/>
          </p:cNvPicPr>
          <p:nvPr/>
        </p:nvPicPr>
        <p:blipFill>
          <a:blip r:embed="rId3"/>
          <a:stretch>
            <a:fillRect/>
          </a:stretch>
        </p:blipFill>
        <p:spPr>
          <a:xfrm>
            <a:off x="7713175" y="1073424"/>
            <a:ext cx="2205271" cy="49070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833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56F2A-2CF5-C355-FCBE-017B177591E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15583F4-5C82-3979-656E-82EFA9FE6E6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F7F4AF2-5107-440A-9774-92D76302957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7710E47-60E2-1C7E-2446-11EF9FB5329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43B98A1-479F-88DA-8703-6040621EA100}"/>
              </a:ext>
            </a:extLst>
          </p:cNvPr>
          <p:cNvSpPr txBox="1">
            <a:spLocks/>
          </p:cNvSpPr>
          <p:nvPr/>
        </p:nvSpPr>
        <p:spPr>
          <a:xfrm>
            <a:off x="448508" y="1584960"/>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br>
              <a:rPr lang="en-US" sz="1800" b="1" dirty="0"/>
            </a:br>
            <a:r>
              <a:rPr lang="en-US" sz="2000" b="1" dirty="0">
                <a:solidFill>
                  <a:srgbClr val="1F69FF"/>
                </a:solidFill>
              </a:rPr>
              <a:t>Connect</a:t>
            </a:r>
            <a:endParaRPr lang="en-US" sz="1800" dirty="0">
              <a:solidFill>
                <a:srgbClr val="1F69FF"/>
              </a:solidFill>
            </a:endParaRPr>
          </a:p>
          <a:p>
            <a:pPr lvl="1">
              <a:spcBef>
                <a:spcPts val="1800"/>
              </a:spcBef>
            </a:pPr>
            <a:r>
              <a:rPr lang="en-US" sz="1400" b="1" dirty="0"/>
              <a:t>Connect</a:t>
            </a:r>
            <a:r>
              <a:rPr lang="en-US" sz="1400" dirty="0"/>
              <a:t> displays all the available readers that are ready to connect.  </a:t>
            </a:r>
          </a:p>
          <a:p>
            <a:pPr lvl="1"/>
            <a:r>
              <a:rPr lang="en-US" sz="1400" dirty="0"/>
              <a:t>Click on the reader name to connect to the reader.</a:t>
            </a:r>
          </a:p>
          <a:p>
            <a:pPr lvl="1"/>
            <a:r>
              <a:rPr lang="en-US" sz="1400" dirty="0"/>
              <a:t>Click Refresh to refresh the list of available readers that are ready to connect.</a:t>
            </a:r>
          </a:p>
          <a:p>
            <a:pPr lvl="1"/>
            <a:r>
              <a:rPr lang="en-US" sz="1400" dirty="0"/>
              <a:t>           -&gt; icon for app version info.</a:t>
            </a:r>
          </a:p>
          <a:p>
            <a:endParaRPr lang="en-US" sz="1400" dirty="0"/>
          </a:p>
          <a:p>
            <a:endParaRPr lang="en-US" sz="1400" dirty="0"/>
          </a:p>
        </p:txBody>
      </p:sp>
      <p:pic>
        <p:nvPicPr>
          <p:cNvPr id="8" name="Picture 7">
            <a:extLst>
              <a:ext uri="{FF2B5EF4-FFF2-40B4-BE49-F238E27FC236}">
                <a16:creationId xmlns:a16="http://schemas.microsoft.com/office/drawing/2014/main" id="{ACE788C6-8B8C-8C68-5E62-0D3045C2D19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98092" y="1014326"/>
            <a:ext cx="2643203" cy="5286406"/>
          </a:xfrm>
          <a:prstGeom prst="rect">
            <a:avLst/>
          </a:prstGeom>
          <a:ln>
            <a:noFill/>
          </a:ln>
          <a:effectLst>
            <a:outerShdw blurRad="292100" dist="139700" dir="2700000" algn="tl" rotWithShape="0">
              <a:srgbClr val="333333">
                <a:alpha val="65000"/>
              </a:srgbClr>
            </a:outerShdw>
          </a:effectLst>
        </p:spPr>
      </p:pic>
      <p:pic>
        <p:nvPicPr>
          <p:cNvPr id="27" name="Picture 26">
            <a:extLst>
              <a:ext uri="{FF2B5EF4-FFF2-40B4-BE49-F238E27FC236}">
                <a16:creationId xmlns:a16="http://schemas.microsoft.com/office/drawing/2014/main" id="{A18DB41E-E3CD-BC9A-959D-E9EA3705347F}"/>
              </a:ext>
            </a:extLst>
          </p:cNvPr>
          <p:cNvPicPr>
            <a:picLocks noChangeAspect="1"/>
          </p:cNvPicPr>
          <p:nvPr/>
        </p:nvPicPr>
        <p:blipFill>
          <a:blip r:embed="rId4"/>
          <a:stretch>
            <a:fillRect/>
          </a:stretch>
        </p:blipFill>
        <p:spPr>
          <a:xfrm>
            <a:off x="675398" y="3535598"/>
            <a:ext cx="356567" cy="316948"/>
          </a:xfrm>
          <a:prstGeom prst="rect">
            <a:avLst/>
          </a:prstGeom>
        </p:spPr>
      </p:pic>
    </p:spTree>
    <p:extLst>
      <p:ext uri="{BB962C8B-B14F-4D97-AF65-F5344CB8AC3E}">
        <p14:creationId xmlns:p14="http://schemas.microsoft.com/office/powerpoint/2010/main" val="15247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overs">
  <a:themeElements>
    <a:clrScheme name="Zebra Theme 1">
      <a:dk1>
        <a:srgbClr val="000000"/>
      </a:dk1>
      <a:lt1>
        <a:srgbClr val="FFFFFF"/>
      </a:lt1>
      <a:dk2>
        <a:srgbClr val="000000"/>
      </a:dk2>
      <a:lt2>
        <a:srgbClr val="FFFFFF"/>
      </a:lt2>
      <a:accent1>
        <a:srgbClr val="0073E6"/>
      </a:accent1>
      <a:accent2>
        <a:srgbClr val="78D64B"/>
      </a:accent2>
      <a:accent3>
        <a:srgbClr val="F6BE00"/>
      </a:accent3>
      <a:accent4>
        <a:srgbClr val="1E22A4"/>
      </a:accent4>
      <a:accent5>
        <a:srgbClr val="999999"/>
      </a:accent5>
      <a:accent6>
        <a:srgbClr val="CCCCCC"/>
      </a:accent6>
      <a:hlink>
        <a:srgbClr val="0073E6"/>
      </a:hlink>
      <a:folHlink>
        <a:srgbClr val="0073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3.xml><?xml version="1.0" encoding="utf-8"?>
<a:theme xmlns:a="http://schemas.openxmlformats.org/drawingml/2006/main" name="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D011BFE-647D-443E-8225-ECF8CAA679B6}">
  <we:reference id="wa200005566" version="3.0.0.3" store="en-US" storeType="OMEX"/>
  <we:alternateReferences>
    <we:reference id="wa200005566" version="3.0.0.3"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939C8C0999484085F454C4D585DD1D" ma:contentTypeVersion="19" ma:contentTypeDescription="Create a new document." ma:contentTypeScope="" ma:versionID="752ebd29244187452d86295fc7cf6e68">
  <xsd:schema xmlns:xsd="http://www.w3.org/2001/XMLSchema" xmlns:xs="http://www.w3.org/2001/XMLSchema" xmlns:p="http://schemas.microsoft.com/office/2006/metadata/properties" xmlns:ns2="a593bd60-75c4-44d5-8eac-bbf01f81bbd5" xmlns:ns3="4d4e43c3-ab7f-42d1-8fcd-991191e1a093" targetNamespace="http://schemas.microsoft.com/office/2006/metadata/properties" ma:root="true" ma:fieldsID="d938698f909de4184ae6521ec0a464e3" ns2:_="" ns3:_="">
    <xsd:import namespace="a593bd60-75c4-44d5-8eac-bbf01f81bbd5"/>
    <xsd:import namespace="4d4e43c3-ab7f-42d1-8fcd-991191e1a0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SearchProperties" minOccurs="0"/>
                <xsd:element ref="ns2:MediaServiceLocation" minOccurs="0"/>
                <xsd:element ref="ns2:MediaServiceOCR"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93bd60-75c4-44d5-8eac-bbf01f81bb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d1b9f02-2e42-4fff-9a04-4fa9bed0f115" ma:termSetId="09814cd3-568e-fe90-9814-8d621ff8fb84" ma:anchorId="fba54fb3-c3e1-fe81-a776-ca4b69148c4d" ma:open="true" ma:isKeyword="false">
      <xsd:complexType>
        <xsd:sequence>
          <xsd:element ref="pc:Terms" minOccurs="0" maxOccurs="1"/>
        </xsd:sequence>
      </xsd:complex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Notes" ma:index="26"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4e43c3-ab7f-42d1-8fcd-991191e1a09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753fb3b3-b8a8-4a1f-9bbc-7bec4316ab81}" ma:internalName="TaxCatchAll" ma:showField="CatchAllData" ma:web="4d4e43c3-ab7f-42d1-8fcd-991191e1a0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d4e43c3-ab7f-42d1-8fcd-991191e1a093" xsi:nil="true"/>
    <Notes xmlns="a593bd60-75c4-44d5-8eac-bbf01f81bbd5" xsi:nil="true"/>
    <lcf76f155ced4ddcb4097134ff3c332f xmlns="a593bd60-75c4-44d5-8eac-bbf01f81bbd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DCB9D4A-F20C-4CDF-B0E3-F7DE6E70C2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93bd60-75c4-44d5-8eac-bbf01f81bbd5"/>
    <ds:schemaRef ds:uri="4d4e43c3-ab7f-42d1-8fcd-991191e1a0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19AB95-511A-4251-B687-3BE18382C78F}">
  <ds:schemaRefs>
    <ds:schemaRef ds:uri="http://schemas.microsoft.com/sharepoint/v3/contenttype/forms"/>
  </ds:schemaRefs>
</ds:datastoreItem>
</file>

<file path=customXml/itemProps3.xml><?xml version="1.0" encoding="utf-8"?>
<ds:datastoreItem xmlns:ds="http://schemas.openxmlformats.org/officeDocument/2006/customXml" ds:itemID="{86160183-35DE-490D-8539-32FD0CC02AF5}">
  <ds:schemaRefs>
    <ds:schemaRef ds:uri="http://schemas.openxmlformats.org/package/2006/metadata/core-properties"/>
    <ds:schemaRef ds:uri="4d4e43c3-ab7f-42d1-8fcd-991191e1a093"/>
    <ds:schemaRef ds:uri="http://schemas.microsoft.com/office/2006/metadata/properties"/>
    <ds:schemaRef ds:uri="http://purl.org/dc/elements/1.1/"/>
    <ds:schemaRef ds:uri="http://schemas.microsoft.com/office/2006/documentManagement/types"/>
    <ds:schemaRef ds:uri="http://purl.org/dc/dcmitype/"/>
    <ds:schemaRef ds:uri="http://schemas.microsoft.com/office/infopath/2007/PartnerControls"/>
    <ds:schemaRef ds:uri="a593bd60-75c4-44d5-8eac-bbf01f81bbd5"/>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9342</TotalTime>
  <Words>9607</Words>
  <Application>Microsoft Office PowerPoint</Application>
  <PresentationFormat>Widescreen</PresentationFormat>
  <Paragraphs>858</Paragraphs>
  <Slides>46</Slides>
  <Notes>46</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1" baseType="lpstr">
      <vt:lpstr>ＭＳ Ｐゴシック</vt:lpstr>
      <vt:lpstr>ＭＳ Ｐゴシック</vt:lpstr>
      <vt:lpstr>Aptos</vt:lpstr>
      <vt:lpstr>Aptos Display</vt:lpstr>
      <vt:lpstr>Arial</vt:lpstr>
      <vt:lpstr>Courier New</vt:lpstr>
      <vt:lpstr>Symbol</vt:lpstr>
      <vt:lpstr>Zebra Mono Medium</vt:lpstr>
      <vt:lpstr>Zebra Sans</vt:lpstr>
      <vt:lpstr>Zebra Sans Cnd ExtraBold</vt:lpstr>
      <vt:lpstr>Office Theme</vt:lpstr>
      <vt:lpstr>1_Covers</vt:lpstr>
      <vt:lpstr>Arial Blank</vt:lpstr>
      <vt:lpstr>1_Arial Blank</vt:lpstr>
      <vt:lpstr>think-cell Slide</vt:lpstr>
      <vt:lpstr>Zebra RFID + Impinj Gen2X Android Sample App User Guide</vt:lpstr>
      <vt:lpstr>Zebra RFID + Gen2X:  Android SDK Overview</vt:lpstr>
      <vt:lpstr>Zebra RFID + Gen2X</vt:lpstr>
      <vt:lpstr>Zebra RFID + Gen2X</vt:lpstr>
      <vt:lpstr>NewGen2xPlay Sample App –  Getting Started</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Gen2X Feature Demo: TagFocus</vt:lpstr>
      <vt:lpstr>Zebra RFID + Gen2X</vt:lpstr>
      <vt:lpstr>Zebra RFID + Gen2X</vt:lpstr>
      <vt:lpstr>Zebra RFID + Gen2X</vt:lpstr>
      <vt:lpstr>Gen2X Feature Demo: Tag Quieting</vt:lpstr>
      <vt:lpstr>Zebra RFID + Gen2X</vt:lpstr>
      <vt:lpstr>Zebra RFID + Gen2X</vt:lpstr>
      <vt:lpstr>Zebra RFID + Gen2X</vt:lpstr>
      <vt:lpstr>Zebra RFID + Gen2X</vt:lpstr>
      <vt:lpstr>Zebra RFID + Gen2X</vt:lpstr>
      <vt:lpstr>Zebra RFID + Gen2X</vt:lpstr>
      <vt:lpstr>Gen2X Feature Demo:  Protected Mode</vt:lpstr>
      <vt:lpstr>Zebra RFID + Gen2X</vt:lpstr>
      <vt:lpstr>Zebra RFID + Gen2X</vt:lpstr>
      <vt:lpstr>Zebra RFID + Gen2X</vt:lpstr>
      <vt:lpstr>Zebra RFID + Gen2X</vt:lpstr>
      <vt:lpstr>Zebra RFID + Gen2X</vt:lpstr>
      <vt:lpstr>Zebra RFID + Gen2X</vt:lpstr>
      <vt:lpstr>Zebra RFID + Gen2X</vt:lpstr>
      <vt:lpstr>Zebra RFID + Gen2X</vt:lpstr>
      <vt:lpstr>Gen2X Feature Demo: FastID</vt:lpstr>
      <vt:lpstr>Zebra RFID + Gen2X</vt:lpstr>
      <vt:lpstr>Zebra RFID + Gen2X</vt:lpstr>
      <vt:lpstr>Zebra RFID + Gen2X</vt:lpstr>
      <vt:lpstr>Gen2X Feature Demo: Gen2X enhanced inventory performance using Inventory Protocol </vt:lpstr>
      <vt:lpstr>Zebra RFID + Gen2X</vt:lpstr>
      <vt:lpstr>Zebra RFID + Gen2X</vt:lpstr>
      <vt:lpstr>Zebra RFID + Gen2X</vt:lpstr>
      <vt:lpstr>Zebra RFID + Gen2X</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errino, Mary Jo</dc:creator>
  <cp:lastModifiedBy>G, Nikhil</cp:lastModifiedBy>
  <cp:revision>13</cp:revision>
  <dcterms:created xsi:type="dcterms:W3CDTF">2025-08-14T14:37:17Z</dcterms:created>
  <dcterms:modified xsi:type="dcterms:W3CDTF">2026-04-15T11:4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939C8C0999484085F454C4D585DD1D</vt:lpwstr>
  </property>
  <property fmtid="{D5CDD505-2E9C-101B-9397-08002B2CF9AE}" pid="3" name="MediaServiceImageTags">
    <vt:lpwstr/>
  </property>
</Properties>
</file>